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64" r:id="rId3"/>
    <p:sldId id="257" r:id="rId4"/>
    <p:sldId id="265" r:id="rId5"/>
    <p:sldId id="273" r:id="rId6"/>
    <p:sldId id="274" r:id="rId7"/>
    <p:sldId id="262" r:id="rId8"/>
    <p:sldId id="270" r:id="rId9"/>
    <p:sldId id="272" r:id="rId10"/>
    <p:sldId id="271" r:id="rId11"/>
    <p:sldId id="260" r:id="rId12"/>
    <p:sldId id="277" r:id="rId13"/>
    <p:sldId id="276" r:id="rId14"/>
    <p:sldId id="275" r:id="rId15"/>
    <p:sldId id="278" r:id="rId16"/>
    <p:sldId id="258" r:id="rId17"/>
    <p:sldId id="279" r:id="rId18"/>
    <p:sldId id="280" r:id="rId19"/>
    <p:sldId id="281" r:id="rId20"/>
    <p:sldId id="285" r:id="rId21"/>
    <p:sldId id="286" r:id="rId22"/>
    <p:sldId id="284" r:id="rId23"/>
    <p:sldId id="283" r:id="rId24"/>
    <p:sldId id="282" r:id="rId25"/>
    <p:sldId id="261" r:id="rId26"/>
    <p:sldId id="266" r:id="rId27"/>
    <p:sldId id="267" r:id="rId28"/>
    <p:sldId id="268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A763E9-25E8-4432-97CC-2EC745F83205}">
          <p14:sldIdLst>
            <p14:sldId id="256"/>
          </p14:sldIdLst>
        </p14:section>
        <p14:section name="FF-12 Login Animation" id="{CFBB8AA5-04BA-4180-893A-CB39F4A31F0F}">
          <p14:sldIdLst>
            <p14:sldId id="264"/>
            <p14:sldId id="257"/>
            <p14:sldId id="265"/>
          </p14:sldIdLst>
        </p14:section>
        <p14:section name="FF-5: Register/Login" id="{495DAD34-3D72-49A8-879C-9FFEBCB491E1}">
          <p14:sldIdLst>
            <p14:sldId id="273"/>
            <p14:sldId id="274"/>
            <p14:sldId id="262"/>
            <p14:sldId id="270"/>
            <p14:sldId id="272"/>
            <p14:sldId id="271"/>
          </p14:sldIdLst>
        </p14:section>
        <p14:section name="FF-8: Swipe on other users" id="{65E7F6BB-4320-46B9-A735-E4671D5D9153}">
          <p14:sldIdLst>
            <p14:sldId id="260"/>
            <p14:sldId id="277"/>
            <p14:sldId id="276"/>
            <p14:sldId id="275"/>
          </p14:sldIdLst>
        </p14:section>
        <p14:section name="FF-6: Manage my profile" id="{15C34094-2033-44B1-95F5-97A5D7468851}">
          <p14:sldIdLst>
            <p14:sldId id="278"/>
            <p14:sldId id="258"/>
          </p14:sldIdLst>
        </p14:section>
        <p14:section name="FF-7: Set my discovery preference settings" id="{48392267-8139-4DC4-AA31-4665786C6FEA}">
          <p14:sldIdLst>
            <p14:sldId id="279"/>
            <p14:sldId id="280"/>
          </p14:sldIdLst>
        </p14:section>
        <p14:section name="FF-10: Overview page of my matches" id="{39B407B0-450E-4221-AD0A-7290AAA57D06}">
          <p14:sldIdLst>
            <p14:sldId id="281"/>
            <p14:sldId id="285"/>
            <p14:sldId id="286"/>
            <p14:sldId id="284"/>
            <p14:sldId id="283"/>
            <p14:sldId id="282"/>
          </p14:sldIdLst>
        </p14:section>
        <p14:section name="Untitled Section" id="{3FD90222-A56E-4208-BF0F-0427987EDC00}">
          <p14:sldIdLst>
            <p14:sldId id="261"/>
            <p14:sldId id="266"/>
            <p14:sldId id="26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Gorzon" initials="DG" lastIdx="1" clrIdx="0">
    <p:extLst>
      <p:ext uri="{19B8F6BF-5375-455C-9EA6-DF929625EA0E}">
        <p15:presenceInfo xmlns:p15="http://schemas.microsoft.com/office/powerpoint/2012/main" userId="1324c7a9e00d3ef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00"/>
    <a:srgbClr val="C8AA6E"/>
    <a:srgbClr val="F2F2F2"/>
    <a:srgbClr val="F7F7F7"/>
    <a:srgbClr val="D651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49" autoAdjust="0"/>
  </p:normalViewPr>
  <p:slideViewPr>
    <p:cSldViewPr snapToGrid="0">
      <p:cViewPr varScale="1">
        <p:scale>
          <a:sx n="114" d="100"/>
          <a:sy n="114" d="100"/>
        </p:scale>
        <p:origin x="202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19D0EC-F9B7-43FA-92D7-3342E09C015D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3E911-5DE0-4D67-A06F-696B9C8FA2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628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3E911-5DE0-4D67-A06F-696B9C8FA2B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923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Good morning, Good afternoon, or Good evening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3E911-5DE0-4D67-A06F-696B9C8FA2B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468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Good morning, Good afternoon, or Good evening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3E911-5DE0-4D67-A06F-696B9C8FA2B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2691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3E911-5DE0-4D67-A06F-696B9C8FA2B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551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3E911-5DE0-4D67-A06F-696B9C8FA2B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2520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94BE8-48D3-4A1F-90AE-936CE83FFE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D11B5D-5A8E-4161-B815-D5E92335C0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D0C7E8-8C81-48A0-AD28-8EDF34ED0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E9195-5E0B-4DD4-AFC8-1B81EB840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1525E7-4803-46E5-A43E-2CD69DB8B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0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96201F-CCAD-4317-BBDE-E2689E3C2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0BBB3C-F1CE-48ED-B4F9-D5707DD29C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4F2B64-470D-44AC-9579-323EAE435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EF06F3-A3D6-48D0-B910-4FEC33B99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F4CB5-CF79-46D2-938F-A31D8147E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854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94274C6-5EB5-4EBB-BECE-B9D8C725F5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5B2351-6AD8-48F1-84D0-902940B918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498EDA-2FD8-4F54-9AB6-8E1D39986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7951F-8BB2-4489-A96B-D5C969C4B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C16B8D-DB26-4137-BC09-1FB1E0CF5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1475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22822-5DEE-4F40-825E-8854203F0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065F7F-942F-4D2D-87D5-573E0D510F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F954C0-C047-4BE8-A715-994D20A9D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8238B-B7CD-4645-9C3D-110A7200E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777916-D3BF-4688-94A5-939C635D6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498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4F15C-D544-485A-88E4-C4C2D8E22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C64BD-D388-4EAF-BEEA-2034FEB669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6EEBBE-48FC-4CA9-8EE2-FCFC4E33C4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114D11-FB24-4B4C-A9F4-E9A60990EF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67F7C-0E65-415F-BB9A-F1679880F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994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BDDBB-C3C5-4D21-A931-ADDE8D8F8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8CC33A-DE0B-4A10-A7F2-07CD598A44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83E43D-1E5D-4E8B-BC43-E14D0703D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F4367A-3852-423E-936A-B4411BEFB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EB3436-B9C0-4D7D-8C3B-1060193C2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38846C-83D7-4C86-8F0C-106DD59D7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314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8E5DD-08C4-4806-B0ED-1E0CB617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B96FAC-04AE-4140-9931-6079AA173A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10445F-88D3-4D71-BB10-A217ADB988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5F330E-18E2-41D9-9F1D-2BDA691209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1940808-69B1-495F-8066-E72F627851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6F5D51-C370-4C2B-983C-38CC98549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271D4F-AF70-4E1E-B091-154A68555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081AA56-D6A0-4D60-84D8-75B56CA36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165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3DF71-A292-40E4-939F-5A1873B6D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2B14C6-128B-4DB9-97F9-6EAEB70A7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F6E58F-B097-4C08-A372-AD7D9ACF75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B6ED72-2A69-4A3D-8AFF-885A51702C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227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BA85BC-8F9F-41A1-886F-1B386FAF94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8D3413-E4C3-4E6D-B589-5E2F7C4A1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B84763-E791-4B07-8FAA-F2CEC6536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392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2CEBC-9A1C-41A8-AEDE-17F2BD339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BD5EE0-DA1B-4728-B9FE-B6BEB274CB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FB31FD-C034-4385-B439-11D770C94B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FCAA9C-3353-4087-BC8C-588258605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5F0BD-FDCB-4BF5-B650-BCE73A2F2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EEE4F5-5D7F-48D1-B772-7454069C2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620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6CF7F-0EA7-49FE-A6CB-F2612B739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1B0C093-D61F-46A4-BBB4-8535C32712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508937-38A1-4B12-A591-AAE2DA20BE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FE28C3-24A0-4AFE-AA64-D5F5C56A7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F776C7-5E1D-45C0-8F3E-AF99AD7C9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7AD75C-B4CE-4685-8EFA-8E8CAE5F5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394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24237F-522C-45BD-BA61-67F4A5BAC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409B18-B01A-40B6-9440-4202A2E931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2101C2-3E51-4D6E-AD13-498932EE4F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9DE662-4AC4-4CCC-91F7-79908DE05338}" type="datetimeFigureOut">
              <a:rPr lang="en-US" smtClean="0"/>
              <a:t>11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0A0F7-92B9-4A47-BD7B-EF1462883F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179C86-ACA3-4AB6-A735-954CD6870D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AEB006-6C33-4997-9417-6B22105B5D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93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gi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7.png"/><Relationship Id="rId7" Type="http://schemas.openxmlformats.org/officeDocument/2006/relationships/image" Target="../media/image2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10" Type="http://schemas.openxmlformats.org/officeDocument/2006/relationships/image" Target="../media/image25.png"/><Relationship Id="rId4" Type="http://schemas.openxmlformats.org/officeDocument/2006/relationships/image" Target="../media/image18.png"/><Relationship Id="rId9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10" Type="http://schemas.openxmlformats.org/officeDocument/2006/relationships/image" Target="../media/image25.png"/><Relationship Id="rId4" Type="http://schemas.openxmlformats.org/officeDocument/2006/relationships/image" Target="../media/image18.png"/><Relationship Id="rId9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9AF3F73-6E20-4CCB-B72D-C385F1A832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3259" y="643466"/>
            <a:ext cx="3565482" cy="557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954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FBA05-B91E-4592-A85E-E9138C51D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 descr="Biometrische Verfahren | Sicherheitstechnik | Glossar | Baunetz_Wissen">
            <a:extLst>
              <a:ext uri="{FF2B5EF4-FFF2-40B4-BE49-F238E27FC236}">
                <a16:creationId xmlns:a16="http://schemas.microsoft.com/office/drawing/2014/main" id="{D9A3847B-4E77-4092-BDBA-7D98EAF17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7588" y="2266950"/>
            <a:ext cx="5076825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30186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1AF711E-9637-4899-A41E-3237CD94DC9E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2" name="Picture 6" descr="Draven - (Dreamscene HD) (wallpaper animated) (Login screen + music) -  YouTube">
            <a:extLst>
              <a:ext uri="{FF2B5EF4-FFF2-40B4-BE49-F238E27FC236}">
                <a16:creationId xmlns:a16="http://schemas.microsoft.com/office/drawing/2014/main" id="{9E42ED3F-18D5-4497-9E99-DA016353DA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8" r="8321" b="35762"/>
          <a:stretch/>
        </p:blipFill>
        <p:spPr bwMode="auto">
          <a:xfrm>
            <a:off x="4286251" y="1709190"/>
            <a:ext cx="3206505" cy="133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ay in the Life: Fortnite Legend Tyler &quot;Ninja&quot; Blevins">
            <a:extLst>
              <a:ext uri="{FF2B5EF4-FFF2-40B4-BE49-F238E27FC236}">
                <a16:creationId xmlns:a16="http://schemas.microsoft.com/office/drawing/2014/main" id="{A93302CD-7637-4CEB-9A62-50029C7E8A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6" t="8461" r="40689" b="46508"/>
          <a:stretch/>
        </p:blipFill>
        <p:spPr bwMode="auto">
          <a:xfrm>
            <a:off x="4538080" y="2386541"/>
            <a:ext cx="972686" cy="1092622"/>
          </a:xfrm>
          <a:prstGeom prst="ellipse">
            <a:avLst/>
          </a:prstGeom>
          <a:ln w="635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8: Swipe on other user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6D2D27B-0F9B-4E8D-AE53-0BAA4B628719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B9FF673-360A-4658-9190-E5EAE60A22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5118" y="3639448"/>
            <a:ext cx="2924175" cy="495300"/>
          </a:xfrm>
          <a:prstGeom prst="rect">
            <a:avLst/>
          </a:prstGeom>
        </p:spPr>
      </p:pic>
      <p:sp>
        <p:nvSpPr>
          <p:cNvPr id="25" name="Freeform 806">
            <a:extLst>
              <a:ext uri="{FF2B5EF4-FFF2-40B4-BE49-F238E27FC236}">
                <a16:creationId xmlns:a16="http://schemas.microsoft.com/office/drawing/2014/main" id="{12CAE29E-45AF-418F-9DB7-075EE76ADEC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Freeform 1380">
            <a:extLst>
              <a:ext uri="{FF2B5EF4-FFF2-40B4-BE49-F238E27FC236}">
                <a16:creationId xmlns:a16="http://schemas.microsoft.com/office/drawing/2014/main" id="{8459E00B-BAD2-464E-9B32-D5189632E88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BF4186C-D6C3-42AE-9608-3C43A99EDED9}"/>
              </a:ext>
            </a:extLst>
          </p:cNvPr>
          <p:cNvGrpSpPr/>
          <p:nvPr/>
        </p:nvGrpSpPr>
        <p:grpSpPr>
          <a:xfrm>
            <a:off x="5255266" y="1146391"/>
            <a:ext cx="1210069" cy="418511"/>
            <a:chOff x="8597394" y="2882015"/>
            <a:chExt cx="1581535" cy="546985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19F3B2-7590-4D3B-B7C6-89EB9F404A23}"/>
                </a:ext>
              </a:extLst>
            </p:cNvPr>
            <p:cNvGrpSpPr/>
            <p:nvPr/>
          </p:nvGrpSpPr>
          <p:grpSpPr>
            <a:xfrm>
              <a:off x="9217985" y="2966761"/>
              <a:ext cx="960944" cy="459515"/>
              <a:chOff x="9217985" y="2966761"/>
              <a:chExt cx="960944" cy="459515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C2CE9857-061E-46B4-AFDD-D70B49E66B4C}"/>
                  </a:ext>
                </a:extLst>
              </p:cNvPr>
              <p:cNvSpPr/>
              <p:nvPr/>
            </p:nvSpPr>
            <p:spPr>
              <a:xfrm>
                <a:off x="9217985" y="2966761"/>
                <a:ext cx="960944" cy="459515"/>
              </a:xfrm>
              <a:prstGeom prst="roundRect">
                <a:avLst>
                  <a:gd name="adj" fmla="val 86146"/>
                </a:avLst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Freeform 967">
                <a:extLst>
                  <a:ext uri="{FF2B5EF4-FFF2-40B4-BE49-F238E27FC236}">
                    <a16:creationId xmlns:a16="http://schemas.microsoft.com/office/drawing/2014/main" id="{655276BC-8708-41AA-804B-1F5DF29A28A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0719" y="3010764"/>
                <a:ext cx="395475" cy="371507"/>
              </a:xfrm>
              <a:custGeom>
                <a:avLst/>
                <a:gdLst>
                  <a:gd name="T0" fmla="*/ 108 w 629"/>
                  <a:gd name="T1" fmla="*/ 334 h 585"/>
                  <a:gd name="T2" fmla="*/ 64 w 629"/>
                  <a:gd name="T3" fmla="*/ 334 h 585"/>
                  <a:gd name="T4" fmla="*/ 1 w 629"/>
                  <a:gd name="T5" fmla="*/ 282 h 585"/>
                  <a:gd name="T6" fmla="*/ 41 w 629"/>
                  <a:gd name="T7" fmla="*/ 167 h 585"/>
                  <a:gd name="T8" fmla="*/ 126 w 629"/>
                  <a:gd name="T9" fmla="*/ 195 h 585"/>
                  <a:gd name="T10" fmla="*/ 170 w 629"/>
                  <a:gd name="T11" fmla="*/ 187 h 585"/>
                  <a:gd name="T12" fmla="*/ 168 w 629"/>
                  <a:gd name="T13" fmla="*/ 209 h 585"/>
                  <a:gd name="T14" fmla="*/ 194 w 629"/>
                  <a:gd name="T15" fmla="*/ 293 h 585"/>
                  <a:gd name="T16" fmla="*/ 108 w 629"/>
                  <a:gd name="T17" fmla="*/ 334 h 585"/>
                  <a:gd name="T18" fmla="*/ 126 w 629"/>
                  <a:gd name="T19" fmla="*/ 167 h 585"/>
                  <a:gd name="T20" fmla="*/ 43 w 629"/>
                  <a:gd name="T21" fmla="*/ 83 h 585"/>
                  <a:gd name="T22" fmla="*/ 126 w 629"/>
                  <a:gd name="T23" fmla="*/ 0 h 585"/>
                  <a:gd name="T24" fmla="*/ 210 w 629"/>
                  <a:gd name="T25" fmla="*/ 83 h 585"/>
                  <a:gd name="T26" fmla="*/ 126 w 629"/>
                  <a:gd name="T27" fmla="*/ 167 h 585"/>
                  <a:gd name="T28" fmla="*/ 457 w 629"/>
                  <a:gd name="T29" fmla="*/ 585 h 585"/>
                  <a:gd name="T30" fmla="*/ 172 w 629"/>
                  <a:gd name="T31" fmla="*/ 585 h 585"/>
                  <a:gd name="T32" fmla="*/ 84 w 629"/>
                  <a:gd name="T33" fmla="*/ 501 h 585"/>
                  <a:gd name="T34" fmla="*/ 197 w 629"/>
                  <a:gd name="T35" fmla="*/ 313 h 585"/>
                  <a:gd name="T36" fmla="*/ 314 w 629"/>
                  <a:gd name="T37" fmla="*/ 359 h 585"/>
                  <a:gd name="T38" fmla="*/ 431 w 629"/>
                  <a:gd name="T39" fmla="*/ 313 h 585"/>
                  <a:gd name="T40" fmla="*/ 544 w 629"/>
                  <a:gd name="T41" fmla="*/ 501 h 585"/>
                  <a:gd name="T42" fmla="*/ 457 w 629"/>
                  <a:gd name="T43" fmla="*/ 585 h 585"/>
                  <a:gd name="T44" fmla="*/ 314 w 629"/>
                  <a:gd name="T45" fmla="*/ 334 h 585"/>
                  <a:gd name="T46" fmla="*/ 189 w 629"/>
                  <a:gd name="T47" fmla="*/ 209 h 585"/>
                  <a:gd name="T48" fmla="*/ 314 w 629"/>
                  <a:gd name="T49" fmla="*/ 83 h 585"/>
                  <a:gd name="T50" fmla="*/ 440 w 629"/>
                  <a:gd name="T51" fmla="*/ 209 h 585"/>
                  <a:gd name="T52" fmla="*/ 314 w 629"/>
                  <a:gd name="T53" fmla="*/ 334 h 585"/>
                  <a:gd name="T54" fmla="*/ 503 w 629"/>
                  <a:gd name="T55" fmla="*/ 167 h 585"/>
                  <a:gd name="T56" fmla="*/ 419 w 629"/>
                  <a:gd name="T57" fmla="*/ 83 h 585"/>
                  <a:gd name="T58" fmla="*/ 503 w 629"/>
                  <a:gd name="T59" fmla="*/ 0 h 585"/>
                  <a:gd name="T60" fmla="*/ 586 w 629"/>
                  <a:gd name="T61" fmla="*/ 83 h 585"/>
                  <a:gd name="T62" fmla="*/ 503 w 629"/>
                  <a:gd name="T63" fmla="*/ 167 h 585"/>
                  <a:gd name="T64" fmla="*/ 565 w 629"/>
                  <a:gd name="T65" fmla="*/ 334 h 585"/>
                  <a:gd name="T66" fmla="*/ 521 w 629"/>
                  <a:gd name="T67" fmla="*/ 334 h 585"/>
                  <a:gd name="T68" fmla="*/ 434 w 629"/>
                  <a:gd name="T69" fmla="*/ 293 h 585"/>
                  <a:gd name="T70" fmla="*/ 461 w 629"/>
                  <a:gd name="T71" fmla="*/ 209 h 585"/>
                  <a:gd name="T72" fmla="*/ 459 w 629"/>
                  <a:gd name="T73" fmla="*/ 187 h 585"/>
                  <a:gd name="T74" fmla="*/ 503 w 629"/>
                  <a:gd name="T75" fmla="*/ 195 h 585"/>
                  <a:gd name="T76" fmla="*/ 588 w 629"/>
                  <a:gd name="T77" fmla="*/ 167 h 585"/>
                  <a:gd name="T78" fmla="*/ 628 w 629"/>
                  <a:gd name="T79" fmla="*/ 282 h 585"/>
                  <a:gd name="T80" fmla="*/ 565 w 629"/>
                  <a:gd name="T81" fmla="*/ 334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9" h="585">
                    <a:moveTo>
                      <a:pt x="108" y="334"/>
                    </a:moveTo>
                    <a:cubicBezTo>
                      <a:pt x="64" y="334"/>
                      <a:pt x="64" y="334"/>
                      <a:pt x="64" y="334"/>
                    </a:cubicBezTo>
                    <a:cubicBezTo>
                      <a:pt x="31" y="334"/>
                      <a:pt x="1" y="319"/>
                      <a:pt x="1" y="282"/>
                    </a:cubicBezTo>
                    <a:cubicBezTo>
                      <a:pt x="1" y="256"/>
                      <a:pt x="0" y="167"/>
                      <a:pt x="41" y="167"/>
                    </a:cubicBezTo>
                    <a:cubicBezTo>
                      <a:pt x="48" y="167"/>
                      <a:pt x="82" y="195"/>
                      <a:pt x="126" y="195"/>
                    </a:cubicBezTo>
                    <a:cubicBezTo>
                      <a:pt x="141" y="195"/>
                      <a:pt x="156" y="192"/>
                      <a:pt x="170" y="187"/>
                    </a:cubicBezTo>
                    <a:cubicBezTo>
                      <a:pt x="169" y="195"/>
                      <a:pt x="168" y="202"/>
                      <a:pt x="168" y="209"/>
                    </a:cubicBezTo>
                    <a:cubicBezTo>
                      <a:pt x="168" y="239"/>
                      <a:pt x="177" y="268"/>
                      <a:pt x="194" y="293"/>
                    </a:cubicBezTo>
                    <a:cubicBezTo>
                      <a:pt x="160" y="294"/>
                      <a:pt x="130" y="308"/>
                      <a:pt x="108" y="334"/>
                    </a:cubicBezTo>
                    <a:close/>
                    <a:moveTo>
                      <a:pt x="126" y="167"/>
                    </a:moveTo>
                    <a:cubicBezTo>
                      <a:pt x="80" y="167"/>
                      <a:pt x="43" y="129"/>
                      <a:pt x="43" y="83"/>
                    </a:cubicBezTo>
                    <a:cubicBezTo>
                      <a:pt x="43" y="37"/>
                      <a:pt x="80" y="0"/>
                      <a:pt x="126" y="0"/>
                    </a:cubicBezTo>
                    <a:cubicBezTo>
                      <a:pt x="172" y="0"/>
                      <a:pt x="210" y="37"/>
                      <a:pt x="210" y="83"/>
                    </a:cubicBezTo>
                    <a:cubicBezTo>
                      <a:pt x="210" y="129"/>
                      <a:pt x="172" y="167"/>
                      <a:pt x="126" y="167"/>
                    </a:cubicBezTo>
                    <a:close/>
                    <a:moveTo>
                      <a:pt x="457" y="585"/>
                    </a:moveTo>
                    <a:cubicBezTo>
                      <a:pt x="172" y="585"/>
                      <a:pt x="172" y="585"/>
                      <a:pt x="172" y="585"/>
                    </a:cubicBezTo>
                    <a:cubicBezTo>
                      <a:pt x="119" y="585"/>
                      <a:pt x="84" y="554"/>
                      <a:pt x="84" y="501"/>
                    </a:cubicBezTo>
                    <a:cubicBezTo>
                      <a:pt x="84" y="427"/>
                      <a:pt x="102" y="313"/>
                      <a:pt x="197" y="313"/>
                    </a:cubicBezTo>
                    <a:cubicBezTo>
                      <a:pt x="208" y="313"/>
                      <a:pt x="249" y="359"/>
                      <a:pt x="314" y="359"/>
                    </a:cubicBezTo>
                    <a:cubicBezTo>
                      <a:pt x="380" y="359"/>
                      <a:pt x="420" y="313"/>
                      <a:pt x="431" y="313"/>
                    </a:cubicBezTo>
                    <a:cubicBezTo>
                      <a:pt x="527" y="313"/>
                      <a:pt x="544" y="427"/>
                      <a:pt x="544" y="501"/>
                    </a:cubicBezTo>
                    <a:cubicBezTo>
                      <a:pt x="544" y="554"/>
                      <a:pt x="509" y="585"/>
                      <a:pt x="457" y="585"/>
                    </a:cubicBezTo>
                    <a:close/>
                    <a:moveTo>
                      <a:pt x="314" y="334"/>
                    </a:moveTo>
                    <a:cubicBezTo>
                      <a:pt x="245" y="334"/>
                      <a:pt x="189" y="278"/>
                      <a:pt x="189" y="209"/>
                    </a:cubicBezTo>
                    <a:cubicBezTo>
                      <a:pt x="189" y="140"/>
                      <a:pt x="245" y="83"/>
                      <a:pt x="314" y="83"/>
                    </a:cubicBezTo>
                    <a:cubicBezTo>
                      <a:pt x="384" y="83"/>
                      <a:pt x="440" y="140"/>
                      <a:pt x="440" y="209"/>
                    </a:cubicBezTo>
                    <a:cubicBezTo>
                      <a:pt x="440" y="278"/>
                      <a:pt x="384" y="334"/>
                      <a:pt x="314" y="334"/>
                    </a:cubicBezTo>
                    <a:close/>
                    <a:moveTo>
                      <a:pt x="503" y="167"/>
                    </a:moveTo>
                    <a:cubicBezTo>
                      <a:pt x="456" y="167"/>
                      <a:pt x="419" y="129"/>
                      <a:pt x="419" y="83"/>
                    </a:cubicBezTo>
                    <a:cubicBezTo>
                      <a:pt x="419" y="37"/>
                      <a:pt x="456" y="0"/>
                      <a:pt x="503" y="0"/>
                    </a:cubicBezTo>
                    <a:cubicBezTo>
                      <a:pt x="549" y="0"/>
                      <a:pt x="586" y="37"/>
                      <a:pt x="586" y="83"/>
                    </a:cubicBezTo>
                    <a:cubicBezTo>
                      <a:pt x="586" y="129"/>
                      <a:pt x="549" y="167"/>
                      <a:pt x="503" y="167"/>
                    </a:cubicBezTo>
                    <a:close/>
                    <a:moveTo>
                      <a:pt x="565" y="334"/>
                    </a:moveTo>
                    <a:cubicBezTo>
                      <a:pt x="521" y="334"/>
                      <a:pt x="521" y="334"/>
                      <a:pt x="521" y="334"/>
                    </a:cubicBezTo>
                    <a:cubicBezTo>
                      <a:pt x="499" y="308"/>
                      <a:pt x="468" y="294"/>
                      <a:pt x="434" y="293"/>
                    </a:cubicBezTo>
                    <a:cubicBezTo>
                      <a:pt x="451" y="268"/>
                      <a:pt x="461" y="239"/>
                      <a:pt x="461" y="209"/>
                    </a:cubicBezTo>
                    <a:cubicBezTo>
                      <a:pt x="461" y="202"/>
                      <a:pt x="460" y="195"/>
                      <a:pt x="459" y="187"/>
                    </a:cubicBezTo>
                    <a:cubicBezTo>
                      <a:pt x="473" y="192"/>
                      <a:pt x="488" y="195"/>
                      <a:pt x="503" y="195"/>
                    </a:cubicBezTo>
                    <a:cubicBezTo>
                      <a:pt x="547" y="195"/>
                      <a:pt x="581" y="167"/>
                      <a:pt x="588" y="167"/>
                    </a:cubicBezTo>
                    <a:cubicBezTo>
                      <a:pt x="629" y="167"/>
                      <a:pt x="628" y="256"/>
                      <a:pt x="628" y="282"/>
                    </a:cubicBezTo>
                    <a:cubicBezTo>
                      <a:pt x="628" y="319"/>
                      <a:pt x="597" y="334"/>
                      <a:pt x="565" y="33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CC81BB4-1B89-4367-AC5B-7AAA40D9A961}"/>
                </a:ext>
              </a:extLst>
            </p:cNvPr>
            <p:cNvSpPr/>
            <p:nvPr/>
          </p:nvSpPr>
          <p:spPr>
            <a:xfrm>
              <a:off x="9217985" y="2966761"/>
              <a:ext cx="960944" cy="459515"/>
            </a:xfrm>
            <a:prstGeom prst="roundRect">
              <a:avLst>
                <a:gd name="adj" fmla="val 86146"/>
              </a:avLst>
            </a:prstGeom>
            <a:solidFill>
              <a:schemeClr val="bg1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01B20166-D3D2-4D74-9276-DB5FFE1647D8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AE1D65F-36C9-474A-9F5D-54C2D53E4E44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43AB8755-F41B-467D-AA36-9DBB637983D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5E88F01E-EBCA-450E-9279-C899E6382E5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3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734499B7-9B33-4FDD-9DA1-EEEFC567B27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1" name="Arc 40">
                <a:extLst>
                  <a:ext uri="{FF2B5EF4-FFF2-40B4-BE49-F238E27FC236}">
                    <a16:creationId xmlns:a16="http://schemas.microsoft.com/office/drawing/2014/main" id="{A8D4BEC4-67DA-4412-BFB5-9427B0DF7822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7457D0D6-C839-4E62-AB41-B2EA070CE4B1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FB383F7-9149-4C2E-B892-3AABBF9C9041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Duo / Group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C0D2DB2-0885-48AC-B495-338346222BE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61A366C-F577-4348-83D2-5442B1D543F4}"/>
              </a:ext>
            </a:extLst>
          </p:cNvPr>
          <p:cNvSpPr txBox="1"/>
          <p:nvPr/>
        </p:nvSpPr>
        <p:spPr>
          <a:xfrm>
            <a:off x="5479793" y="3038789"/>
            <a:ext cx="2371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Montserrat" panose="00000500000000000000" pitchFamily="2" charset="0"/>
              </a:rPr>
              <a:t>Ninja, 27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AD0220C-ACE4-4267-A6E0-6652C98C0621}"/>
              </a:ext>
            </a:extLst>
          </p:cNvPr>
          <p:cNvSpPr txBox="1"/>
          <p:nvPr/>
        </p:nvSpPr>
        <p:spPr>
          <a:xfrm>
            <a:off x="5476955" y="3270395"/>
            <a:ext cx="2371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Montserrat" panose="00000500000000000000" pitchFamily="2" charset="0"/>
              </a:rPr>
              <a:t>Frankfurt Am Main, Germany</a:t>
            </a:r>
          </a:p>
        </p:txBody>
      </p:sp>
      <p:sp>
        <p:nvSpPr>
          <p:cNvPr id="4098" name="Rectangle: Rounded Corners 4097">
            <a:extLst>
              <a:ext uri="{FF2B5EF4-FFF2-40B4-BE49-F238E27FC236}">
                <a16:creationId xmlns:a16="http://schemas.microsoft.com/office/drawing/2014/main" id="{CE4D6F6A-A45C-4F86-9B89-FEF17A237705}"/>
              </a:ext>
            </a:extLst>
          </p:cNvPr>
          <p:cNvSpPr/>
          <p:nvPr/>
        </p:nvSpPr>
        <p:spPr>
          <a:xfrm>
            <a:off x="4286251" y="1704206"/>
            <a:ext cx="3201910" cy="3939181"/>
          </a:xfrm>
          <a:prstGeom prst="roundRect">
            <a:avLst>
              <a:gd name="adj" fmla="val 5229"/>
            </a:avLst>
          </a:prstGeo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reeform 882">
            <a:extLst>
              <a:ext uri="{FF2B5EF4-FFF2-40B4-BE49-F238E27FC236}">
                <a16:creationId xmlns:a16="http://schemas.microsoft.com/office/drawing/2014/main" id="{95107716-13A7-4295-8FFA-4E3C3F23AC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65335" y="5805940"/>
            <a:ext cx="654000" cy="654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414 w 502"/>
              <a:gd name="T11" fmla="*/ 183 h 502"/>
              <a:gd name="T12" fmla="*/ 384 w 502"/>
              <a:gd name="T13" fmla="*/ 154 h 502"/>
              <a:gd name="T14" fmla="*/ 369 w 502"/>
              <a:gd name="T15" fmla="*/ 148 h 502"/>
              <a:gd name="T16" fmla="*/ 354 w 502"/>
              <a:gd name="T17" fmla="*/ 154 h 502"/>
              <a:gd name="T18" fmla="*/ 221 w 502"/>
              <a:gd name="T19" fmla="*/ 287 h 502"/>
              <a:gd name="T20" fmla="*/ 147 w 502"/>
              <a:gd name="T21" fmla="*/ 213 h 502"/>
              <a:gd name="T22" fmla="*/ 133 w 502"/>
              <a:gd name="T23" fmla="*/ 207 h 502"/>
              <a:gd name="T24" fmla="*/ 118 w 502"/>
              <a:gd name="T25" fmla="*/ 213 h 502"/>
              <a:gd name="T26" fmla="*/ 88 w 502"/>
              <a:gd name="T27" fmla="*/ 243 h 502"/>
              <a:gd name="T28" fmla="*/ 82 w 502"/>
              <a:gd name="T29" fmla="*/ 258 h 502"/>
              <a:gd name="T30" fmla="*/ 88 w 502"/>
              <a:gd name="T31" fmla="*/ 272 h 502"/>
              <a:gd name="T32" fmla="*/ 206 w 502"/>
              <a:gd name="T33" fmla="*/ 391 h 502"/>
              <a:gd name="T34" fmla="*/ 221 w 502"/>
              <a:gd name="T35" fmla="*/ 397 h 502"/>
              <a:gd name="T36" fmla="*/ 236 w 502"/>
              <a:gd name="T37" fmla="*/ 391 h 502"/>
              <a:gd name="T38" fmla="*/ 414 w 502"/>
              <a:gd name="T39" fmla="*/ 213 h 502"/>
              <a:gd name="T40" fmla="*/ 419 w 502"/>
              <a:gd name="T41" fmla="*/ 199 h 502"/>
              <a:gd name="T42" fmla="*/ 414 w 502"/>
              <a:gd name="T43" fmla="*/ 183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2" y="502"/>
                  <a:pt x="0" y="390"/>
                  <a:pt x="0" y="251"/>
                </a:cubicBezTo>
                <a:cubicBezTo>
                  <a:pt x="0" y="113"/>
                  <a:pt x="112" y="0"/>
                  <a:pt x="251" y="0"/>
                </a:cubicBezTo>
                <a:cubicBezTo>
                  <a:pt x="389" y="0"/>
                  <a:pt x="502" y="113"/>
                  <a:pt x="502" y="251"/>
                </a:cubicBezTo>
                <a:cubicBezTo>
                  <a:pt x="502" y="390"/>
                  <a:pt x="389" y="502"/>
                  <a:pt x="251" y="502"/>
                </a:cubicBezTo>
                <a:close/>
                <a:moveTo>
                  <a:pt x="414" y="183"/>
                </a:moveTo>
                <a:cubicBezTo>
                  <a:pt x="384" y="154"/>
                  <a:pt x="384" y="154"/>
                  <a:pt x="384" y="154"/>
                </a:cubicBezTo>
                <a:cubicBezTo>
                  <a:pt x="380" y="150"/>
                  <a:pt x="375" y="148"/>
                  <a:pt x="369" y="148"/>
                </a:cubicBezTo>
                <a:cubicBezTo>
                  <a:pt x="364" y="148"/>
                  <a:pt x="358" y="150"/>
                  <a:pt x="354" y="154"/>
                </a:cubicBezTo>
                <a:cubicBezTo>
                  <a:pt x="221" y="287"/>
                  <a:pt x="221" y="287"/>
                  <a:pt x="221" y="287"/>
                </a:cubicBezTo>
                <a:cubicBezTo>
                  <a:pt x="147" y="213"/>
                  <a:pt x="147" y="213"/>
                  <a:pt x="147" y="213"/>
                </a:cubicBezTo>
                <a:cubicBezTo>
                  <a:pt x="143" y="209"/>
                  <a:pt x="138" y="207"/>
                  <a:pt x="133" y="207"/>
                </a:cubicBezTo>
                <a:cubicBezTo>
                  <a:pt x="127" y="207"/>
                  <a:pt x="122" y="209"/>
                  <a:pt x="118" y="213"/>
                </a:cubicBezTo>
                <a:cubicBezTo>
                  <a:pt x="88" y="243"/>
                  <a:pt x="88" y="243"/>
                  <a:pt x="88" y="243"/>
                </a:cubicBezTo>
                <a:cubicBezTo>
                  <a:pt x="84" y="247"/>
                  <a:pt x="82" y="252"/>
                  <a:pt x="82" y="258"/>
                </a:cubicBezTo>
                <a:cubicBezTo>
                  <a:pt x="82" y="263"/>
                  <a:pt x="84" y="268"/>
                  <a:pt x="88" y="272"/>
                </a:cubicBezTo>
                <a:cubicBezTo>
                  <a:pt x="206" y="391"/>
                  <a:pt x="206" y="391"/>
                  <a:pt x="206" y="391"/>
                </a:cubicBezTo>
                <a:cubicBezTo>
                  <a:pt x="210" y="395"/>
                  <a:pt x="216" y="397"/>
                  <a:pt x="221" y="397"/>
                </a:cubicBezTo>
                <a:cubicBezTo>
                  <a:pt x="227" y="397"/>
                  <a:pt x="232" y="395"/>
                  <a:pt x="236" y="391"/>
                </a:cubicBezTo>
                <a:cubicBezTo>
                  <a:pt x="414" y="213"/>
                  <a:pt x="414" y="213"/>
                  <a:pt x="414" y="213"/>
                </a:cubicBezTo>
                <a:cubicBezTo>
                  <a:pt x="417" y="209"/>
                  <a:pt x="419" y="204"/>
                  <a:pt x="419" y="199"/>
                </a:cubicBezTo>
                <a:cubicBezTo>
                  <a:pt x="419" y="193"/>
                  <a:pt x="417" y="187"/>
                  <a:pt x="414" y="183"/>
                </a:cubicBezTo>
                <a:close/>
              </a:path>
            </a:pathLst>
          </a:custGeom>
          <a:solidFill>
            <a:srgbClr val="92D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6" name="Freeform 881">
            <a:extLst>
              <a:ext uri="{FF2B5EF4-FFF2-40B4-BE49-F238E27FC236}">
                <a16:creationId xmlns:a16="http://schemas.microsoft.com/office/drawing/2014/main" id="{8CCD08D8-98C5-4AEC-B0DE-29589EDAF2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00670" y="5805940"/>
            <a:ext cx="654000" cy="654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369 w 502"/>
              <a:gd name="T11" fmla="*/ 310 h 502"/>
              <a:gd name="T12" fmla="*/ 310 w 502"/>
              <a:gd name="T13" fmla="*/ 251 h 502"/>
              <a:gd name="T14" fmla="*/ 369 w 502"/>
              <a:gd name="T15" fmla="*/ 192 h 502"/>
              <a:gd name="T16" fmla="*/ 375 w 502"/>
              <a:gd name="T17" fmla="*/ 177 h 502"/>
              <a:gd name="T18" fmla="*/ 369 w 502"/>
              <a:gd name="T19" fmla="*/ 162 h 502"/>
              <a:gd name="T20" fmla="*/ 340 w 502"/>
              <a:gd name="T21" fmla="*/ 133 h 502"/>
              <a:gd name="T22" fmla="*/ 325 w 502"/>
              <a:gd name="T23" fmla="*/ 127 h 502"/>
              <a:gd name="T24" fmla="*/ 310 w 502"/>
              <a:gd name="T25" fmla="*/ 133 h 502"/>
              <a:gd name="T26" fmla="*/ 251 w 502"/>
              <a:gd name="T27" fmla="*/ 192 h 502"/>
              <a:gd name="T28" fmla="*/ 192 w 502"/>
              <a:gd name="T29" fmla="*/ 133 h 502"/>
              <a:gd name="T30" fmla="*/ 177 w 502"/>
              <a:gd name="T31" fmla="*/ 127 h 502"/>
              <a:gd name="T32" fmla="*/ 162 w 502"/>
              <a:gd name="T33" fmla="*/ 133 h 502"/>
              <a:gd name="T34" fmla="*/ 133 w 502"/>
              <a:gd name="T35" fmla="*/ 162 h 502"/>
              <a:gd name="T36" fmla="*/ 126 w 502"/>
              <a:gd name="T37" fmla="*/ 177 h 502"/>
              <a:gd name="T38" fmla="*/ 133 w 502"/>
              <a:gd name="T39" fmla="*/ 192 h 502"/>
              <a:gd name="T40" fmla="*/ 192 w 502"/>
              <a:gd name="T41" fmla="*/ 251 h 502"/>
              <a:gd name="T42" fmla="*/ 133 w 502"/>
              <a:gd name="T43" fmla="*/ 310 h 502"/>
              <a:gd name="T44" fmla="*/ 126 w 502"/>
              <a:gd name="T45" fmla="*/ 325 h 502"/>
              <a:gd name="T46" fmla="*/ 133 w 502"/>
              <a:gd name="T47" fmla="*/ 340 h 502"/>
              <a:gd name="T48" fmla="*/ 162 w 502"/>
              <a:gd name="T49" fmla="*/ 369 h 502"/>
              <a:gd name="T50" fmla="*/ 177 w 502"/>
              <a:gd name="T51" fmla="*/ 376 h 502"/>
              <a:gd name="T52" fmla="*/ 192 w 502"/>
              <a:gd name="T53" fmla="*/ 369 h 502"/>
              <a:gd name="T54" fmla="*/ 251 w 502"/>
              <a:gd name="T55" fmla="*/ 310 h 502"/>
              <a:gd name="T56" fmla="*/ 310 w 502"/>
              <a:gd name="T57" fmla="*/ 369 h 502"/>
              <a:gd name="T58" fmla="*/ 325 w 502"/>
              <a:gd name="T59" fmla="*/ 376 h 502"/>
              <a:gd name="T60" fmla="*/ 340 w 502"/>
              <a:gd name="T61" fmla="*/ 369 h 502"/>
              <a:gd name="T62" fmla="*/ 369 w 502"/>
              <a:gd name="T63" fmla="*/ 340 h 502"/>
              <a:gd name="T64" fmla="*/ 375 w 502"/>
              <a:gd name="T65" fmla="*/ 325 h 502"/>
              <a:gd name="T66" fmla="*/ 369 w 502"/>
              <a:gd name="T67" fmla="*/ 310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2" y="502"/>
                  <a:pt x="0" y="390"/>
                  <a:pt x="0" y="251"/>
                </a:cubicBezTo>
                <a:cubicBezTo>
                  <a:pt x="0" y="113"/>
                  <a:pt x="112" y="0"/>
                  <a:pt x="251" y="0"/>
                </a:cubicBezTo>
                <a:cubicBezTo>
                  <a:pt x="389" y="0"/>
                  <a:pt x="502" y="113"/>
                  <a:pt x="502" y="251"/>
                </a:cubicBezTo>
                <a:cubicBezTo>
                  <a:pt x="502" y="390"/>
                  <a:pt x="389" y="502"/>
                  <a:pt x="251" y="502"/>
                </a:cubicBezTo>
                <a:close/>
                <a:moveTo>
                  <a:pt x="369" y="310"/>
                </a:moveTo>
                <a:cubicBezTo>
                  <a:pt x="310" y="251"/>
                  <a:pt x="310" y="251"/>
                  <a:pt x="310" y="251"/>
                </a:cubicBezTo>
                <a:cubicBezTo>
                  <a:pt x="369" y="192"/>
                  <a:pt x="369" y="192"/>
                  <a:pt x="369" y="192"/>
                </a:cubicBezTo>
                <a:cubicBezTo>
                  <a:pt x="373" y="188"/>
                  <a:pt x="375" y="183"/>
                  <a:pt x="375" y="177"/>
                </a:cubicBezTo>
                <a:cubicBezTo>
                  <a:pt x="375" y="172"/>
                  <a:pt x="373" y="166"/>
                  <a:pt x="369" y="162"/>
                </a:cubicBezTo>
                <a:cubicBezTo>
                  <a:pt x="340" y="133"/>
                  <a:pt x="340" y="133"/>
                  <a:pt x="340" y="133"/>
                </a:cubicBezTo>
                <a:cubicBezTo>
                  <a:pt x="336" y="129"/>
                  <a:pt x="330" y="127"/>
                  <a:pt x="325" y="127"/>
                </a:cubicBezTo>
                <a:cubicBezTo>
                  <a:pt x="319" y="127"/>
                  <a:pt x="314" y="129"/>
                  <a:pt x="310" y="133"/>
                </a:cubicBezTo>
                <a:cubicBezTo>
                  <a:pt x="251" y="192"/>
                  <a:pt x="251" y="192"/>
                  <a:pt x="251" y="192"/>
                </a:cubicBezTo>
                <a:cubicBezTo>
                  <a:pt x="192" y="133"/>
                  <a:pt x="192" y="133"/>
                  <a:pt x="192" y="133"/>
                </a:cubicBezTo>
                <a:cubicBezTo>
                  <a:pt x="188" y="129"/>
                  <a:pt x="183" y="127"/>
                  <a:pt x="177" y="127"/>
                </a:cubicBezTo>
                <a:cubicBezTo>
                  <a:pt x="171" y="127"/>
                  <a:pt x="166" y="129"/>
                  <a:pt x="162" y="133"/>
                </a:cubicBezTo>
                <a:cubicBezTo>
                  <a:pt x="133" y="162"/>
                  <a:pt x="133" y="162"/>
                  <a:pt x="133" y="162"/>
                </a:cubicBezTo>
                <a:cubicBezTo>
                  <a:pt x="129" y="166"/>
                  <a:pt x="126" y="172"/>
                  <a:pt x="126" y="177"/>
                </a:cubicBezTo>
                <a:cubicBezTo>
                  <a:pt x="126" y="183"/>
                  <a:pt x="129" y="188"/>
                  <a:pt x="133" y="192"/>
                </a:cubicBezTo>
                <a:cubicBezTo>
                  <a:pt x="192" y="251"/>
                  <a:pt x="192" y="251"/>
                  <a:pt x="192" y="251"/>
                </a:cubicBezTo>
                <a:cubicBezTo>
                  <a:pt x="133" y="310"/>
                  <a:pt x="133" y="310"/>
                  <a:pt x="133" y="310"/>
                </a:cubicBezTo>
                <a:cubicBezTo>
                  <a:pt x="129" y="314"/>
                  <a:pt x="126" y="319"/>
                  <a:pt x="126" y="325"/>
                </a:cubicBezTo>
                <a:cubicBezTo>
                  <a:pt x="126" y="330"/>
                  <a:pt x="129" y="336"/>
                  <a:pt x="133" y="340"/>
                </a:cubicBezTo>
                <a:cubicBezTo>
                  <a:pt x="162" y="369"/>
                  <a:pt x="162" y="369"/>
                  <a:pt x="162" y="369"/>
                </a:cubicBezTo>
                <a:cubicBezTo>
                  <a:pt x="166" y="373"/>
                  <a:pt x="171" y="376"/>
                  <a:pt x="177" y="376"/>
                </a:cubicBezTo>
                <a:cubicBezTo>
                  <a:pt x="183" y="376"/>
                  <a:pt x="188" y="373"/>
                  <a:pt x="192" y="369"/>
                </a:cubicBezTo>
                <a:cubicBezTo>
                  <a:pt x="251" y="310"/>
                  <a:pt x="251" y="310"/>
                  <a:pt x="251" y="310"/>
                </a:cubicBezTo>
                <a:cubicBezTo>
                  <a:pt x="310" y="369"/>
                  <a:pt x="310" y="369"/>
                  <a:pt x="310" y="369"/>
                </a:cubicBezTo>
                <a:cubicBezTo>
                  <a:pt x="314" y="373"/>
                  <a:pt x="319" y="376"/>
                  <a:pt x="325" y="376"/>
                </a:cubicBezTo>
                <a:cubicBezTo>
                  <a:pt x="330" y="376"/>
                  <a:pt x="336" y="373"/>
                  <a:pt x="340" y="369"/>
                </a:cubicBezTo>
                <a:cubicBezTo>
                  <a:pt x="369" y="340"/>
                  <a:pt x="369" y="340"/>
                  <a:pt x="369" y="340"/>
                </a:cubicBezTo>
                <a:cubicBezTo>
                  <a:pt x="373" y="336"/>
                  <a:pt x="375" y="330"/>
                  <a:pt x="375" y="325"/>
                </a:cubicBezTo>
                <a:cubicBezTo>
                  <a:pt x="375" y="319"/>
                  <a:pt x="373" y="314"/>
                  <a:pt x="369" y="31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AF08F3A-29D6-4CFE-98F7-759C4E06A8FE}"/>
              </a:ext>
            </a:extLst>
          </p:cNvPr>
          <p:cNvSpPr txBox="1"/>
          <p:nvPr/>
        </p:nvSpPr>
        <p:spPr>
          <a:xfrm>
            <a:off x="4328182" y="4134748"/>
            <a:ext cx="13134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About me: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F84DDA1-76D7-4277-B67D-90A6C9C8C872}"/>
              </a:ext>
            </a:extLst>
          </p:cNvPr>
          <p:cNvSpPr txBox="1"/>
          <p:nvPr/>
        </p:nvSpPr>
        <p:spPr>
          <a:xfrm>
            <a:off x="6026275" y="4134748"/>
            <a:ext cx="13134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Looking for:</a:t>
            </a: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75ADDA54-150D-4BB2-9881-F6E9AC2E0B89}"/>
              </a:ext>
            </a:extLst>
          </p:cNvPr>
          <p:cNvSpPr/>
          <p:nvPr/>
        </p:nvSpPr>
        <p:spPr>
          <a:xfrm>
            <a:off x="4474679" y="4625369"/>
            <a:ext cx="1039360" cy="191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Casual Gaming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D9D55A19-0277-4C7A-B81C-46C78C045117}"/>
              </a:ext>
            </a:extLst>
          </p:cNvPr>
          <p:cNvSpPr/>
          <p:nvPr/>
        </p:nvSpPr>
        <p:spPr>
          <a:xfrm>
            <a:off x="4474387" y="4403781"/>
            <a:ext cx="1066036" cy="1913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Communicative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FA00E116-3F07-4B38-93B0-FBFFA99DF2DD}"/>
              </a:ext>
            </a:extLst>
          </p:cNvPr>
          <p:cNvSpPr/>
          <p:nvPr/>
        </p:nvSpPr>
        <p:spPr>
          <a:xfrm>
            <a:off x="6102805" y="4403781"/>
            <a:ext cx="430376" cy="191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Fun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B496538F-FBC3-4960-90E2-95EB990A981B}"/>
              </a:ext>
            </a:extLst>
          </p:cNvPr>
          <p:cNvSpPr/>
          <p:nvPr/>
        </p:nvSpPr>
        <p:spPr>
          <a:xfrm>
            <a:off x="6111695" y="4625369"/>
            <a:ext cx="939982" cy="1913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Conversations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F30856FD-B6A7-4912-BA4B-A7D7D8DB8B74}"/>
              </a:ext>
            </a:extLst>
          </p:cNvPr>
          <p:cNvSpPr/>
          <p:nvPr/>
        </p:nvSpPr>
        <p:spPr>
          <a:xfrm>
            <a:off x="6561610" y="4403781"/>
            <a:ext cx="787582" cy="1913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Team work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6FFDB9A2-36B7-4567-BEC3-4814C7F9B790}"/>
              </a:ext>
            </a:extLst>
          </p:cNvPr>
          <p:cNvSpPr/>
          <p:nvPr/>
        </p:nvSpPr>
        <p:spPr>
          <a:xfrm>
            <a:off x="4479027" y="4844534"/>
            <a:ext cx="787582" cy="1913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Team work</a:t>
            </a:r>
          </a:p>
        </p:txBody>
      </p:sp>
      <p:sp>
        <p:nvSpPr>
          <p:cNvPr id="4099" name="Oval 4098">
            <a:extLst>
              <a:ext uri="{FF2B5EF4-FFF2-40B4-BE49-F238E27FC236}">
                <a16:creationId xmlns:a16="http://schemas.microsoft.com/office/drawing/2014/main" id="{006F998C-D824-4E84-91D2-5E7FEF5C4ED6}"/>
              </a:ext>
            </a:extLst>
          </p:cNvPr>
          <p:cNvSpPr/>
          <p:nvPr/>
        </p:nvSpPr>
        <p:spPr>
          <a:xfrm>
            <a:off x="5628536" y="5857009"/>
            <a:ext cx="587195" cy="58719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Freeform 804">
            <a:extLst>
              <a:ext uri="{FF2B5EF4-FFF2-40B4-BE49-F238E27FC236}">
                <a16:creationId xmlns:a16="http://schemas.microsoft.com/office/drawing/2014/main" id="{64355A67-57BB-4877-B1A1-7D8F3F4EFCA5}"/>
              </a:ext>
            </a:extLst>
          </p:cNvPr>
          <p:cNvSpPr>
            <a:spLocks noChangeAspect="1"/>
          </p:cNvSpPr>
          <p:nvPr/>
        </p:nvSpPr>
        <p:spPr bwMode="auto">
          <a:xfrm>
            <a:off x="5722752" y="5960499"/>
            <a:ext cx="398763" cy="380216"/>
          </a:xfrm>
          <a:custGeom>
            <a:avLst/>
            <a:gdLst>
              <a:gd name="T0" fmla="*/ 535 w 544"/>
              <a:gd name="T1" fmla="*/ 216 h 518"/>
              <a:gd name="T2" fmla="*/ 417 w 544"/>
              <a:gd name="T3" fmla="*/ 332 h 518"/>
              <a:gd name="T4" fmla="*/ 445 w 544"/>
              <a:gd name="T5" fmla="*/ 495 h 518"/>
              <a:gd name="T6" fmla="*/ 445 w 544"/>
              <a:gd name="T7" fmla="*/ 502 h 518"/>
              <a:gd name="T8" fmla="*/ 432 w 544"/>
              <a:gd name="T9" fmla="*/ 518 h 518"/>
              <a:gd name="T10" fmla="*/ 419 w 544"/>
              <a:gd name="T11" fmla="*/ 514 h 518"/>
              <a:gd name="T12" fmla="*/ 272 w 544"/>
              <a:gd name="T13" fmla="*/ 437 h 518"/>
              <a:gd name="T14" fmla="*/ 125 w 544"/>
              <a:gd name="T15" fmla="*/ 514 h 518"/>
              <a:gd name="T16" fmla="*/ 112 w 544"/>
              <a:gd name="T17" fmla="*/ 518 h 518"/>
              <a:gd name="T18" fmla="*/ 98 w 544"/>
              <a:gd name="T19" fmla="*/ 502 h 518"/>
              <a:gd name="T20" fmla="*/ 99 w 544"/>
              <a:gd name="T21" fmla="*/ 495 h 518"/>
              <a:gd name="T22" fmla="*/ 127 w 544"/>
              <a:gd name="T23" fmla="*/ 332 h 518"/>
              <a:gd name="T24" fmla="*/ 8 w 544"/>
              <a:gd name="T25" fmla="*/ 216 h 518"/>
              <a:gd name="T26" fmla="*/ 0 w 544"/>
              <a:gd name="T27" fmla="*/ 201 h 518"/>
              <a:gd name="T28" fmla="*/ 18 w 544"/>
              <a:gd name="T29" fmla="*/ 186 h 518"/>
              <a:gd name="T30" fmla="*/ 182 w 544"/>
              <a:gd name="T31" fmla="*/ 162 h 518"/>
              <a:gd name="T32" fmla="*/ 256 w 544"/>
              <a:gd name="T33" fmla="*/ 13 h 518"/>
              <a:gd name="T34" fmla="*/ 272 w 544"/>
              <a:gd name="T35" fmla="*/ 0 h 518"/>
              <a:gd name="T36" fmla="*/ 288 w 544"/>
              <a:gd name="T37" fmla="*/ 13 h 518"/>
              <a:gd name="T38" fmla="*/ 361 w 544"/>
              <a:gd name="T39" fmla="*/ 162 h 518"/>
              <a:gd name="T40" fmla="*/ 525 w 544"/>
              <a:gd name="T41" fmla="*/ 186 h 518"/>
              <a:gd name="T42" fmla="*/ 544 w 544"/>
              <a:gd name="T43" fmla="*/ 201 h 518"/>
              <a:gd name="T44" fmla="*/ 535 w 544"/>
              <a:gd name="T45" fmla="*/ 216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44" h="518">
                <a:moveTo>
                  <a:pt x="535" y="216"/>
                </a:moveTo>
                <a:cubicBezTo>
                  <a:pt x="417" y="332"/>
                  <a:pt x="417" y="332"/>
                  <a:pt x="417" y="332"/>
                </a:cubicBezTo>
                <a:cubicBezTo>
                  <a:pt x="445" y="495"/>
                  <a:pt x="445" y="495"/>
                  <a:pt x="445" y="495"/>
                </a:cubicBezTo>
                <a:cubicBezTo>
                  <a:pt x="445" y="498"/>
                  <a:pt x="445" y="500"/>
                  <a:pt x="445" y="502"/>
                </a:cubicBezTo>
                <a:cubicBezTo>
                  <a:pt x="445" y="510"/>
                  <a:pt x="441" y="518"/>
                  <a:pt x="432" y="518"/>
                </a:cubicBezTo>
                <a:cubicBezTo>
                  <a:pt x="427" y="518"/>
                  <a:pt x="422" y="517"/>
                  <a:pt x="419" y="514"/>
                </a:cubicBezTo>
                <a:cubicBezTo>
                  <a:pt x="272" y="437"/>
                  <a:pt x="272" y="437"/>
                  <a:pt x="272" y="437"/>
                </a:cubicBezTo>
                <a:cubicBezTo>
                  <a:pt x="125" y="514"/>
                  <a:pt x="125" y="514"/>
                  <a:pt x="125" y="514"/>
                </a:cubicBezTo>
                <a:cubicBezTo>
                  <a:pt x="121" y="517"/>
                  <a:pt x="117" y="518"/>
                  <a:pt x="112" y="518"/>
                </a:cubicBezTo>
                <a:cubicBezTo>
                  <a:pt x="103" y="518"/>
                  <a:pt x="98" y="510"/>
                  <a:pt x="98" y="502"/>
                </a:cubicBezTo>
                <a:cubicBezTo>
                  <a:pt x="98" y="500"/>
                  <a:pt x="99" y="498"/>
                  <a:pt x="99" y="495"/>
                </a:cubicBezTo>
                <a:cubicBezTo>
                  <a:pt x="127" y="332"/>
                  <a:pt x="127" y="332"/>
                  <a:pt x="127" y="332"/>
                </a:cubicBezTo>
                <a:cubicBezTo>
                  <a:pt x="8" y="216"/>
                  <a:pt x="8" y="216"/>
                  <a:pt x="8" y="216"/>
                </a:cubicBezTo>
                <a:cubicBezTo>
                  <a:pt x="4" y="212"/>
                  <a:pt x="0" y="207"/>
                  <a:pt x="0" y="201"/>
                </a:cubicBezTo>
                <a:cubicBezTo>
                  <a:pt x="0" y="191"/>
                  <a:pt x="10" y="187"/>
                  <a:pt x="18" y="186"/>
                </a:cubicBezTo>
                <a:cubicBezTo>
                  <a:pt x="182" y="162"/>
                  <a:pt x="182" y="162"/>
                  <a:pt x="182" y="162"/>
                </a:cubicBezTo>
                <a:cubicBezTo>
                  <a:pt x="256" y="13"/>
                  <a:pt x="256" y="13"/>
                  <a:pt x="256" y="13"/>
                </a:cubicBezTo>
                <a:cubicBezTo>
                  <a:pt x="259" y="7"/>
                  <a:pt x="264" y="0"/>
                  <a:pt x="272" y="0"/>
                </a:cubicBezTo>
                <a:cubicBezTo>
                  <a:pt x="279" y="0"/>
                  <a:pt x="285" y="7"/>
                  <a:pt x="288" y="13"/>
                </a:cubicBezTo>
                <a:cubicBezTo>
                  <a:pt x="361" y="162"/>
                  <a:pt x="361" y="162"/>
                  <a:pt x="361" y="162"/>
                </a:cubicBezTo>
                <a:cubicBezTo>
                  <a:pt x="525" y="186"/>
                  <a:pt x="525" y="186"/>
                  <a:pt x="525" y="186"/>
                </a:cubicBezTo>
                <a:cubicBezTo>
                  <a:pt x="533" y="187"/>
                  <a:pt x="544" y="191"/>
                  <a:pt x="544" y="201"/>
                </a:cubicBezTo>
                <a:cubicBezTo>
                  <a:pt x="544" y="207"/>
                  <a:pt x="539" y="212"/>
                  <a:pt x="535" y="2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BDDC27AB-6097-469B-8D42-9B1D4488B63D}"/>
              </a:ext>
            </a:extLst>
          </p:cNvPr>
          <p:cNvSpPr/>
          <p:nvPr/>
        </p:nvSpPr>
        <p:spPr>
          <a:xfrm>
            <a:off x="5523712" y="5251409"/>
            <a:ext cx="748427" cy="25253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  <a:latin typeface="Montserrat" panose="00000500000000000000" pitchFamily="2" charset="0"/>
              </a:rPr>
              <a:t>More</a:t>
            </a:r>
          </a:p>
        </p:txBody>
      </p:sp>
      <p:grpSp>
        <p:nvGrpSpPr>
          <p:cNvPr id="4104" name="Group 4103">
            <a:extLst>
              <a:ext uri="{FF2B5EF4-FFF2-40B4-BE49-F238E27FC236}">
                <a16:creationId xmlns:a16="http://schemas.microsoft.com/office/drawing/2014/main" id="{470BEBF9-99C5-4A00-BCD6-13B81B54CE4F}"/>
              </a:ext>
            </a:extLst>
          </p:cNvPr>
          <p:cNvGrpSpPr/>
          <p:nvPr/>
        </p:nvGrpSpPr>
        <p:grpSpPr>
          <a:xfrm>
            <a:off x="5795044" y="5148810"/>
            <a:ext cx="205764" cy="53364"/>
            <a:chOff x="5780956" y="5148810"/>
            <a:chExt cx="205764" cy="53364"/>
          </a:xfrm>
          <a:solidFill>
            <a:schemeClr val="tx1"/>
          </a:solidFill>
        </p:grpSpPr>
        <p:sp>
          <p:nvSpPr>
            <p:cNvPr id="4103" name="Oval 4102">
              <a:extLst>
                <a:ext uri="{FF2B5EF4-FFF2-40B4-BE49-F238E27FC236}">
                  <a16:creationId xmlns:a16="http://schemas.microsoft.com/office/drawing/2014/main" id="{DF157D21-8C71-49B2-A288-397F2BFDFFA1}"/>
                </a:ext>
              </a:extLst>
            </p:cNvPr>
            <p:cNvSpPr/>
            <p:nvPr/>
          </p:nvSpPr>
          <p:spPr>
            <a:xfrm>
              <a:off x="5780956" y="5148810"/>
              <a:ext cx="53364" cy="5336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13B14645-4CE3-4751-ABFE-465E4D31329F}"/>
                </a:ext>
              </a:extLst>
            </p:cNvPr>
            <p:cNvSpPr/>
            <p:nvPr/>
          </p:nvSpPr>
          <p:spPr>
            <a:xfrm>
              <a:off x="5933356" y="5148810"/>
              <a:ext cx="53364" cy="5336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71C6D5D6-F278-46FC-9727-9DD24DCD7F44}"/>
                </a:ext>
              </a:extLst>
            </p:cNvPr>
            <p:cNvSpPr/>
            <p:nvPr/>
          </p:nvSpPr>
          <p:spPr>
            <a:xfrm>
              <a:off x="5857156" y="5148810"/>
              <a:ext cx="53364" cy="5336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612647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1AF711E-9637-4899-A41E-3237CD94DC9E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2" name="Picture 6" descr="Draven - (Dreamscene HD) (wallpaper animated) (Login screen + music) -  YouTube">
            <a:extLst>
              <a:ext uri="{FF2B5EF4-FFF2-40B4-BE49-F238E27FC236}">
                <a16:creationId xmlns:a16="http://schemas.microsoft.com/office/drawing/2014/main" id="{9E42ED3F-18D5-4497-9E99-DA016353DA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8" r="8321" b="35762"/>
          <a:stretch/>
        </p:blipFill>
        <p:spPr bwMode="auto">
          <a:xfrm>
            <a:off x="4286251" y="1641954"/>
            <a:ext cx="3206505" cy="133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ay in the Life: Fortnite Legend Tyler &quot;Ninja&quot; Blevins">
            <a:extLst>
              <a:ext uri="{FF2B5EF4-FFF2-40B4-BE49-F238E27FC236}">
                <a16:creationId xmlns:a16="http://schemas.microsoft.com/office/drawing/2014/main" id="{A93302CD-7637-4CEB-9A62-50029C7E8A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6" t="8461" r="40689" b="46508"/>
          <a:stretch/>
        </p:blipFill>
        <p:spPr bwMode="auto">
          <a:xfrm>
            <a:off x="4538080" y="2386541"/>
            <a:ext cx="972686" cy="1092622"/>
          </a:xfrm>
          <a:prstGeom prst="ellipse">
            <a:avLst/>
          </a:prstGeom>
          <a:ln w="635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8: Swipe on other user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6D2D27B-0F9B-4E8D-AE53-0BAA4B628719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B9FF673-360A-4658-9190-E5EAE60A22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3085" y="4136880"/>
            <a:ext cx="2924175" cy="495300"/>
          </a:xfrm>
          <a:prstGeom prst="rect">
            <a:avLst/>
          </a:prstGeom>
        </p:spPr>
      </p:pic>
      <p:sp>
        <p:nvSpPr>
          <p:cNvPr id="25" name="Freeform 806">
            <a:extLst>
              <a:ext uri="{FF2B5EF4-FFF2-40B4-BE49-F238E27FC236}">
                <a16:creationId xmlns:a16="http://schemas.microsoft.com/office/drawing/2014/main" id="{12CAE29E-45AF-418F-9DB7-075EE76ADEC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Freeform 1380">
            <a:extLst>
              <a:ext uri="{FF2B5EF4-FFF2-40B4-BE49-F238E27FC236}">
                <a16:creationId xmlns:a16="http://schemas.microsoft.com/office/drawing/2014/main" id="{8459E00B-BAD2-464E-9B32-D5189632E88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BF4186C-D6C3-42AE-9608-3C43A99EDED9}"/>
              </a:ext>
            </a:extLst>
          </p:cNvPr>
          <p:cNvGrpSpPr/>
          <p:nvPr/>
        </p:nvGrpSpPr>
        <p:grpSpPr>
          <a:xfrm>
            <a:off x="5255266" y="1146391"/>
            <a:ext cx="1210069" cy="418511"/>
            <a:chOff x="8597394" y="2882015"/>
            <a:chExt cx="1581535" cy="546985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19F3B2-7590-4D3B-B7C6-89EB9F404A23}"/>
                </a:ext>
              </a:extLst>
            </p:cNvPr>
            <p:cNvGrpSpPr/>
            <p:nvPr/>
          </p:nvGrpSpPr>
          <p:grpSpPr>
            <a:xfrm>
              <a:off x="9217985" y="2966761"/>
              <a:ext cx="960944" cy="459515"/>
              <a:chOff x="9217985" y="2966761"/>
              <a:chExt cx="960944" cy="459515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C2CE9857-061E-46B4-AFDD-D70B49E66B4C}"/>
                  </a:ext>
                </a:extLst>
              </p:cNvPr>
              <p:cNvSpPr/>
              <p:nvPr/>
            </p:nvSpPr>
            <p:spPr>
              <a:xfrm>
                <a:off x="9217985" y="2966761"/>
                <a:ext cx="960944" cy="459515"/>
              </a:xfrm>
              <a:prstGeom prst="roundRect">
                <a:avLst>
                  <a:gd name="adj" fmla="val 86146"/>
                </a:avLst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Freeform 967">
                <a:extLst>
                  <a:ext uri="{FF2B5EF4-FFF2-40B4-BE49-F238E27FC236}">
                    <a16:creationId xmlns:a16="http://schemas.microsoft.com/office/drawing/2014/main" id="{655276BC-8708-41AA-804B-1F5DF29A28A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0719" y="3010764"/>
                <a:ext cx="395475" cy="371507"/>
              </a:xfrm>
              <a:custGeom>
                <a:avLst/>
                <a:gdLst>
                  <a:gd name="T0" fmla="*/ 108 w 629"/>
                  <a:gd name="T1" fmla="*/ 334 h 585"/>
                  <a:gd name="T2" fmla="*/ 64 w 629"/>
                  <a:gd name="T3" fmla="*/ 334 h 585"/>
                  <a:gd name="T4" fmla="*/ 1 w 629"/>
                  <a:gd name="T5" fmla="*/ 282 h 585"/>
                  <a:gd name="T6" fmla="*/ 41 w 629"/>
                  <a:gd name="T7" fmla="*/ 167 h 585"/>
                  <a:gd name="T8" fmla="*/ 126 w 629"/>
                  <a:gd name="T9" fmla="*/ 195 h 585"/>
                  <a:gd name="T10" fmla="*/ 170 w 629"/>
                  <a:gd name="T11" fmla="*/ 187 h 585"/>
                  <a:gd name="T12" fmla="*/ 168 w 629"/>
                  <a:gd name="T13" fmla="*/ 209 h 585"/>
                  <a:gd name="T14" fmla="*/ 194 w 629"/>
                  <a:gd name="T15" fmla="*/ 293 h 585"/>
                  <a:gd name="T16" fmla="*/ 108 w 629"/>
                  <a:gd name="T17" fmla="*/ 334 h 585"/>
                  <a:gd name="T18" fmla="*/ 126 w 629"/>
                  <a:gd name="T19" fmla="*/ 167 h 585"/>
                  <a:gd name="T20" fmla="*/ 43 w 629"/>
                  <a:gd name="T21" fmla="*/ 83 h 585"/>
                  <a:gd name="T22" fmla="*/ 126 w 629"/>
                  <a:gd name="T23" fmla="*/ 0 h 585"/>
                  <a:gd name="T24" fmla="*/ 210 w 629"/>
                  <a:gd name="T25" fmla="*/ 83 h 585"/>
                  <a:gd name="T26" fmla="*/ 126 w 629"/>
                  <a:gd name="T27" fmla="*/ 167 h 585"/>
                  <a:gd name="T28" fmla="*/ 457 w 629"/>
                  <a:gd name="T29" fmla="*/ 585 h 585"/>
                  <a:gd name="T30" fmla="*/ 172 w 629"/>
                  <a:gd name="T31" fmla="*/ 585 h 585"/>
                  <a:gd name="T32" fmla="*/ 84 w 629"/>
                  <a:gd name="T33" fmla="*/ 501 h 585"/>
                  <a:gd name="T34" fmla="*/ 197 w 629"/>
                  <a:gd name="T35" fmla="*/ 313 h 585"/>
                  <a:gd name="T36" fmla="*/ 314 w 629"/>
                  <a:gd name="T37" fmla="*/ 359 h 585"/>
                  <a:gd name="T38" fmla="*/ 431 w 629"/>
                  <a:gd name="T39" fmla="*/ 313 h 585"/>
                  <a:gd name="T40" fmla="*/ 544 w 629"/>
                  <a:gd name="T41" fmla="*/ 501 h 585"/>
                  <a:gd name="T42" fmla="*/ 457 w 629"/>
                  <a:gd name="T43" fmla="*/ 585 h 585"/>
                  <a:gd name="T44" fmla="*/ 314 w 629"/>
                  <a:gd name="T45" fmla="*/ 334 h 585"/>
                  <a:gd name="T46" fmla="*/ 189 w 629"/>
                  <a:gd name="T47" fmla="*/ 209 h 585"/>
                  <a:gd name="T48" fmla="*/ 314 w 629"/>
                  <a:gd name="T49" fmla="*/ 83 h 585"/>
                  <a:gd name="T50" fmla="*/ 440 w 629"/>
                  <a:gd name="T51" fmla="*/ 209 h 585"/>
                  <a:gd name="T52" fmla="*/ 314 w 629"/>
                  <a:gd name="T53" fmla="*/ 334 h 585"/>
                  <a:gd name="T54" fmla="*/ 503 w 629"/>
                  <a:gd name="T55" fmla="*/ 167 h 585"/>
                  <a:gd name="T56" fmla="*/ 419 w 629"/>
                  <a:gd name="T57" fmla="*/ 83 h 585"/>
                  <a:gd name="T58" fmla="*/ 503 w 629"/>
                  <a:gd name="T59" fmla="*/ 0 h 585"/>
                  <a:gd name="T60" fmla="*/ 586 w 629"/>
                  <a:gd name="T61" fmla="*/ 83 h 585"/>
                  <a:gd name="T62" fmla="*/ 503 w 629"/>
                  <a:gd name="T63" fmla="*/ 167 h 585"/>
                  <a:gd name="T64" fmla="*/ 565 w 629"/>
                  <a:gd name="T65" fmla="*/ 334 h 585"/>
                  <a:gd name="T66" fmla="*/ 521 w 629"/>
                  <a:gd name="T67" fmla="*/ 334 h 585"/>
                  <a:gd name="T68" fmla="*/ 434 w 629"/>
                  <a:gd name="T69" fmla="*/ 293 h 585"/>
                  <a:gd name="T70" fmla="*/ 461 w 629"/>
                  <a:gd name="T71" fmla="*/ 209 h 585"/>
                  <a:gd name="T72" fmla="*/ 459 w 629"/>
                  <a:gd name="T73" fmla="*/ 187 h 585"/>
                  <a:gd name="T74" fmla="*/ 503 w 629"/>
                  <a:gd name="T75" fmla="*/ 195 h 585"/>
                  <a:gd name="T76" fmla="*/ 588 w 629"/>
                  <a:gd name="T77" fmla="*/ 167 h 585"/>
                  <a:gd name="T78" fmla="*/ 628 w 629"/>
                  <a:gd name="T79" fmla="*/ 282 h 585"/>
                  <a:gd name="T80" fmla="*/ 565 w 629"/>
                  <a:gd name="T81" fmla="*/ 334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9" h="585">
                    <a:moveTo>
                      <a:pt x="108" y="334"/>
                    </a:moveTo>
                    <a:cubicBezTo>
                      <a:pt x="64" y="334"/>
                      <a:pt x="64" y="334"/>
                      <a:pt x="64" y="334"/>
                    </a:cubicBezTo>
                    <a:cubicBezTo>
                      <a:pt x="31" y="334"/>
                      <a:pt x="1" y="319"/>
                      <a:pt x="1" y="282"/>
                    </a:cubicBezTo>
                    <a:cubicBezTo>
                      <a:pt x="1" y="256"/>
                      <a:pt x="0" y="167"/>
                      <a:pt x="41" y="167"/>
                    </a:cubicBezTo>
                    <a:cubicBezTo>
                      <a:pt x="48" y="167"/>
                      <a:pt x="82" y="195"/>
                      <a:pt x="126" y="195"/>
                    </a:cubicBezTo>
                    <a:cubicBezTo>
                      <a:pt x="141" y="195"/>
                      <a:pt x="156" y="192"/>
                      <a:pt x="170" y="187"/>
                    </a:cubicBezTo>
                    <a:cubicBezTo>
                      <a:pt x="169" y="195"/>
                      <a:pt x="168" y="202"/>
                      <a:pt x="168" y="209"/>
                    </a:cubicBezTo>
                    <a:cubicBezTo>
                      <a:pt x="168" y="239"/>
                      <a:pt x="177" y="268"/>
                      <a:pt x="194" y="293"/>
                    </a:cubicBezTo>
                    <a:cubicBezTo>
                      <a:pt x="160" y="294"/>
                      <a:pt x="130" y="308"/>
                      <a:pt x="108" y="334"/>
                    </a:cubicBezTo>
                    <a:close/>
                    <a:moveTo>
                      <a:pt x="126" y="167"/>
                    </a:moveTo>
                    <a:cubicBezTo>
                      <a:pt x="80" y="167"/>
                      <a:pt x="43" y="129"/>
                      <a:pt x="43" y="83"/>
                    </a:cubicBezTo>
                    <a:cubicBezTo>
                      <a:pt x="43" y="37"/>
                      <a:pt x="80" y="0"/>
                      <a:pt x="126" y="0"/>
                    </a:cubicBezTo>
                    <a:cubicBezTo>
                      <a:pt x="172" y="0"/>
                      <a:pt x="210" y="37"/>
                      <a:pt x="210" y="83"/>
                    </a:cubicBezTo>
                    <a:cubicBezTo>
                      <a:pt x="210" y="129"/>
                      <a:pt x="172" y="167"/>
                      <a:pt x="126" y="167"/>
                    </a:cubicBezTo>
                    <a:close/>
                    <a:moveTo>
                      <a:pt x="457" y="585"/>
                    </a:moveTo>
                    <a:cubicBezTo>
                      <a:pt x="172" y="585"/>
                      <a:pt x="172" y="585"/>
                      <a:pt x="172" y="585"/>
                    </a:cubicBezTo>
                    <a:cubicBezTo>
                      <a:pt x="119" y="585"/>
                      <a:pt x="84" y="554"/>
                      <a:pt x="84" y="501"/>
                    </a:cubicBezTo>
                    <a:cubicBezTo>
                      <a:pt x="84" y="427"/>
                      <a:pt x="102" y="313"/>
                      <a:pt x="197" y="313"/>
                    </a:cubicBezTo>
                    <a:cubicBezTo>
                      <a:pt x="208" y="313"/>
                      <a:pt x="249" y="359"/>
                      <a:pt x="314" y="359"/>
                    </a:cubicBezTo>
                    <a:cubicBezTo>
                      <a:pt x="380" y="359"/>
                      <a:pt x="420" y="313"/>
                      <a:pt x="431" y="313"/>
                    </a:cubicBezTo>
                    <a:cubicBezTo>
                      <a:pt x="527" y="313"/>
                      <a:pt x="544" y="427"/>
                      <a:pt x="544" y="501"/>
                    </a:cubicBezTo>
                    <a:cubicBezTo>
                      <a:pt x="544" y="554"/>
                      <a:pt x="509" y="585"/>
                      <a:pt x="457" y="585"/>
                    </a:cubicBezTo>
                    <a:close/>
                    <a:moveTo>
                      <a:pt x="314" y="334"/>
                    </a:moveTo>
                    <a:cubicBezTo>
                      <a:pt x="245" y="334"/>
                      <a:pt x="189" y="278"/>
                      <a:pt x="189" y="209"/>
                    </a:cubicBezTo>
                    <a:cubicBezTo>
                      <a:pt x="189" y="140"/>
                      <a:pt x="245" y="83"/>
                      <a:pt x="314" y="83"/>
                    </a:cubicBezTo>
                    <a:cubicBezTo>
                      <a:pt x="384" y="83"/>
                      <a:pt x="440" y="140"/>
                      <a:pt x="440" y="209"/>
                    </a:cubicBezTo>
                    <a:cubicBezTo>
                      <a:pt x="440" y="278"/>
                      <a:pt x="384" y="334"/>
                      <a:pt x="314" y="334"/>
                    </a:cubicBezTo>
                    <a:close/>
                    <a:moveTo>
                      <a:pt x="503" y="167"/>
                    </a:moveTo>
                    <a:cubicBezTo>
                      <a:pt x="456" y="167"/>
                      <a:pt x="419" y="129"/>
                      <a:pt x="419" y="83"/>
                    </a:cubicBezTo>
                    <a:cubicBezTo>
                      <a:pt x="419" y="37"/>
                      <a:pt x="456" y="0"/>
                      <a:pt x="503" y="0"/>
                    </a:cubicBezTo>
                    <a:cubicBezTo>
                      <a:pt x="549" y="0"/>
                      <a:pt x="586" y="37"/>
                      <a:pt x="586" y="83"/>
                    </a:cubicBezTo>
                    <a:cubicBezTo>
                      <a:pt x="586" y="129"/>
                      <a:pt x="549" y="167"/>
                      <a:pt x="503" y="167"/>
                    </a:cubicBezTo>
                    <a:close/>
                    <a:moveTo>
                      <a:pt x="565" y="334"/>
                    </a:moveTo>
                    <a:cubicBezTo>
                      <a:pt x="521" y="334"/>
                      <a:pt x="521" y="334"/>
                      <a:pt x="521" y="334"/>
                    </a:cubicBezTo>
                    <a:cubicBezTo>
                      <a:pt x="499" y="308"/>
                      <a:pt x="468" y="294"/>
                      <a:pt x="434" y="293"/>
                    </a:cubicBezTo>
                    <a:cubicBezTo>
                      <a:pt x="451" y="268"/>
                      <a:pt x="461" y="239"/>
                      <a:pt x="461" y="209"/>
                    </a:cubicBezTo>
                    <a:cubicBezTo>
                      <a:pt x="461" y="202"/>
                      <a:pt x="460" y="195"/>
                      <a:pt x="459" y="187"/>
                    </a:cubicBezTo>
                    <a:cubicBezTo>
                      <a:pt x="473" y="192"/>
                      <a:pt x="488" y="195"/>
                      <a:pt x="503" y="195"/>
                    </a:cubicBezTo>
                    <a:cubicBezTo>
                      <a:pt x="547" y="195"/>
                      <a:pt x="581" y="167"/>
                      <a:pt x="588" y="167"/>
                    </a:cubicBezTo>
                    <a:cubicBezTo>
                      <a:pt x="629" y="167"/>
                      <a:pt x="628" y="256"/>
                      <a:pt x="628" y="282"/>
                    </a:cubicBezTo>
                    <a:cubicBezTo>
                      <a:pt x="628" y="319"/>
                      <a:pt x="597" y="334"/>
                      <a:pt x="565" y="33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CC81BB4-1B89-4367-AC5B-7AAA40D9A961}"/>
                </a:ext>
              </a:extLst>
            </p:cNvPr>
            <p:cNvSpPr/>
            <p:nvPr/>
          </p:nvSpPr>
          <p:spPr>
            <a:xfrm>
              <a:off x="9217985" y="2966761"/>
              <a:ext cx="960944" cy="459515"/>
            </a:xfrm>
            <a:prstGeom prst="roundRect">
              <a:avLst>
                <a:gd name="adj" fmla="val 86146"/>
              </a:avLst>
            </a:prstGeom>
            <a:solidFill>
              <a:schemeClr val="bg1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01B20166-D3D2-4D74-9276-DB5FFE1647D8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AE1D65F-36C9-474A-9F5D-54C2D53E4E44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43AB8755-F41B-467D-AA36-9DBB637983D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5E88F01E-EBCA-450E-9279-C899E6382E5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3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734499B7-9B33-4FDD-9DA1-EEEFC567B27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1" name="Arc 40">
                <a:extLst>
                  <a:ext uri="{FF2B5EF4-FFF2-40B4-BE49-F238E27FC236}">
                    <a16:creationId xmlns:a16="http://schemas.microsoft.com/office/drawing/2014/main" id="{A8D4BEC4-67DA-4412-BFB5-9427B0DF7822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7457D0D6-C839-4E62-AB41-B2EA070CE4B1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FB383F7-9149-4C2E-B892-3AABBF9C9041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Duo / Group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C0D2DB2-0885-48AC-B495-338346222BE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61A366C-F577-4348-83D2-5442B1D543F4}"/>
              </a:ext>
            </a:extLst>
          </p:cNvPr>
          <p:cNvSpPr txBox="1"/>
          <p:nvPr/>
        </p:nvSpPr>
        <p:spPr>
          <a:xfrm>
            <a:off x="5479793" y="3000689"/>
            <a:ext cx="2371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Montserrat" panose="00000500000000000000" pitchFamily="2" charset="0"/>
              </a:rPr>
              <a:t>Ninja, 27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AD0220C-ACE4-4267-A6E0-6652C98C0621}"/>
              </a:ext>
            </a:extLst>
          </p:cNvPr>
          <p:cNvSpPr txBox="1"/>
          <p:nvPr/>
        </p:nvSpPr>
        <p:spPr>
          <a:xfrm>
            <a:off x="5476955" y="3232295"/>
            <a:ext cx="2371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Montserrat" panose="00000500000000000000" pitchFamily="2" charset="0"/>
              </a:rPr>
              <a:t>Frankfurt Am Main, Germany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BBC4185-C022-4FDC-876B-7BC3FFDA3089}"/>
              </a:ext>
            </a:extLst>
          </p:cNvPr>
          <p:cNvSpPr txBox="1"/>
          <p:nvPr/>
        </p:nvSpPr>
        <p:spPr>
          <a:xfrm>
            <a:off x="4398853" y="5692010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Summary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45DFED2-69D0-4D8F-BB33-C35016012729}"/>
              </a:ext>
            </a:extLst>
          </p:cNvPr>
          <p:cNvSpPr txBox="1"/>
          <p:nvPr/>
        </p:nvSpPr>
        <p:spPr>
          <a:xfrm>
            <a:off x="5364909" y="5692979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Gaming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AA5BB8-1931-429E-A85B-074F125B78E2}"/>
              </a:ext>
            </a:extLst>
          </p:cNvPr>
          <p:cNvSpPr txBox="1"/>
          <p:nvPr/>
        </p:nvSpPr>
        <p:spPr>
          <a:xfrm>
            <a:off x="6431996" y="5692010"/>
            <a:ext cx="9841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ersonal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DFFD8D3-7BF9-44C2-A7B3-85C8BCDAEA21}"/>
              </a:ext>
            </a:extLst>
          </p:cNvPr>
          <p:cNvCxnSpPr>
            <a:cxnSpLocks/>
          </p:cNvCxnSpPr>
          <p:nvPr/>
        </p:nvCxnSpPr>
        <p:spPr>
          <a:xfrm flipV="1">
            <a:off x="4481022" y="6089260"/>
            <a:ext cx="881452" cy="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5EFCC389-D5DC-440F-A57C-4319B9902E25}"/>
              </a:ext>
            </a:extLst>
          </p:cNvPr>
          <p:cNvCxnSpPr>
            <a:cxnSpLocks/>
          </p:cNvCxnSpPr>
          <p:nvPr/>
        </p:nvCxnSpPr>
        <p:spPr>
          <a:xfrm flipV="1">
            <a:off x="5457201" y="6089260"/>
            <a:ext cx="881452" cy="1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F0B5BD0-18B3-4D1B-9FD9-9560856BE580}"/>
              </a:ext>
            </a:extLst>
          </p:cNvPr>
          <p:cNvCxnSpPr>
            <a:cxnSpLocks/>
          </p:cNvCxnSpPr>
          <p:nvPr/>
        </p:nvCxnSpPr>
        <p:spPr>
          <a:xfrm flipV="1">
            <a:off x="6478563" y="6089260"/>
            <a:ext cx="881452" cy="1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70E8F02-BFBA-4E03-B6B9-0FDC8653D4C4}"/>
              </a:ext>
            </a:extLst>
          </p:cNvPr>
          <p:cNvSpPr txBox="1"/>
          <p:nvPr/>
        </p:nvSpPr>
        <p:spPr>
          <a:xfrm>
            <a:off x="4387235" y="4616598"/>
            <a:ext cx="13134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About me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6B2083D-ADC7-4249-A253-D320772C8D89}"/>
              </a:ext>
            </a:extLst>
          </p:cNvPr>
          <p:cNvSpPr txBox="1"/>
          <p:nvPr/>
        </p:nvSpPr>
        <p:spPr>
          <a:xfrm>
            <a:off x="6085328" y="4616598"/>
            <a:ext cx="13134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Looking for: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35C9BA8-76B3-4DE2-B5A1-1ECA81A8F3F3}"/>
              </a:ext>
            </a:extLst>
          </p:cNvPr>
          <p:cNvSpPr/>
          <p:nvPr/>
        </p:nvSpPr>
        <p:spPr>
          <a:xfrm>
            <a:off x="4533732" y="5107219"/>
            <a:ext cx="1039360" cy="191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Casual Gaming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3134ACB6-D572-4A44-9C7D-C6A89DB7C016}"/>
              </a:ext>
            </a:extLst>
          </p:cNvPr>
          <p:cNvSpPr/>
          <p:nvPr/>
        </p:nvSpPr>
        <p:spPr>
          <a:xfrm>
            <a:off x="4533440" y="4885631"/>
            <a:ext cx="1066036" cy="1913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Communicative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2C10F01D-9E4A-4823-99D7-52F5ADFBD55F}"/>
              </a:ext>
            </a:extLst>
          </p:cNvPr>
          <p:cNvSpPr/>
          <p:nvPr/>
        </p:nvSpPr>
        <p:spPr>
          <a:xfrm>
            <a:off x="6161858" y="4885631"/>
            <a:ext cx="430376" cy="191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Fun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CB893C5B-7E92-45FD-9216-FBB7A25B10D5}"/>
              </a:ext>
            </a:extLst>
          </p:cNvPr>
          <p:cNvSpPr/>
          <p:nvPr/>
        </p:nvSpPr>
        <p:spPr>
          <a:xfrm>
            <a:off x="6170748" y="5107219"/>
            <a:ext cx="939982" cy="1913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Conversations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800BC834-6D04-4DA3-BC39-77DA2242B473}"/>
              </a:ext>
            </a:extLst>
          </p:cNvPr>
          <p:cNvSpPr/>
          <p:nvPr/>
        </p:nvSpPr>
        <p:spPr>
          <a:xfrm>
            <a:off x="6620663" y="4885631"/>
            <a:ext cx="787582" cy="1913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Team work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575AC362-F992-42F0-9DDD-57DA8E61E54B}"/>
              </a:ext>
            </a:extLst>
          </p:cNvPr>
          <p:cNvSpPr/>
          <p:nvPr/>
        </p:nvSpPr>
        <p:spPr>
          <a:xfrm>
            <a:off x="4538080" y="5326384"/>
            <a:ext cx="787582" cy="1913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Team work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57C4BD6-A7C6-4B04-9924-23826EA144E5}"/>
              </a:ext>
            </a:extLst>
          </p:cNvPr>
          <p:cNvSpPr txBox="1"/>
          <p:nvPr/>
        </p:nvSpPr>
        <p:spPr>
          <a:xfrm>
            <a:off x="4491155" y="3591968"/>
            <a:ext cx="2727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>
                <a:latin typeface="Montserrat" panose="00000500000000000000" pitchFamily="2" charset="0"/>
              </a:rPr>
              <a:t>“I’m a kickass ADC so hmu for some DUO Q adventures!”</a:t>
            </a:r>
          </a:p>
        </p:txBody>
      </p:sp>
      <p:sp>
        <p:nvSpPr>
          <p:cNvPr id="4098" name="Rectangle: Rounded Corners 4097">
            <a:extLst>
              <a:ext uri="{FF2B5EF4-FFF2-40B4-BE49-F238E27FC236}">
                <a16:creationId xmlns:a16="http://schemas.microsoft.com/office/drawing/2014/main" id="{CE4D6F6A-A45C-4F86-9B89-FEF17A237705}"/>
              </a:ext>
            </a:extLst>
          </p:cNvPr>
          <p:cNvSpPr/>
          <p:nvPr/>
        </p:nvSpPr>
        <p:spPr>
          <a:xfrm>
            <a:off x="4286251" y="1645362"/>
            <a:ext cx="3201910" cy="3998025"/>
          </a:xfrm>
          <a:prstGeom prst="roundRect">
            <a:avLst>
              <a:gd name="adj" fmla="val 5229"/>
            </a:avLst>
          </a:prstGeo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053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1AF711E-9637-4899-A41E-3237CD94DC9E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98" name="Rectangle: Rounded Corners 4097">
            <a:extLst>
              <a:ext uri="{FF2B5EF4-FFF2-40B4-BE49-F238E27FC236}">
                <a16:creationId xmlns:a16="http://schemas.microsoft.com/office/drawing/2014/main" id="{CE4D6F6A-A45C-4F86-9B89-FEF17A237705}"/>
              </a:ext>
            </a:extLst>
          </p:cNvPr>
          <p:cNvSpPr/>
          <p:nvPr/>
        </p:nvSpPr>
        <p:spPr>
          <a:xfrm>
            <a:off x="4286251" y="1645362"/>
            <a:ext cx="3201910" cy="3998025"/>
          </a:xfrm>
          <a:prstGeom prst="roundRect">
            <a:avLst>
              <a:gd name="adj" fmla="val 5229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2" name="Picture 6" descr="Draven - (Dreamscene HD) (wallpaper animated) (Login screen + music) -  YouTube">
            <a:extLst>
              <a:ext uri="{FF2B5EF4-FFF2-40B4-BE49-F238E27FC236}">
                <a16:creationId xmlns:a16="http://schemas.microsoft.com/office/drawing/2014/main" id="{9E42ED3F-18D5-4497-9E99-DA016353DA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8" r="8321" b="16694"/>
          <a:stretch/>
        </p:blipFill>
        <p:spPr bwMode="auto">
          <a:xfrm>
            <a:off x="4387235" y="1710060"/>
            <a:ext cx="3015877" cy="1638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ay in the Life: Fortnite Legend Tyler &quot;Ninja&quot; Blevins">
            <a:extLst>
              <a:ext uri="{FF2B5EF4-FFF2-40B4-BE49-F238E27FC236}">
                <a16:creationId xmlns:a16="http://schemas.microsoft.com/office/drawing/2014/main" id="{A93302CD-7637-4CEB-9A62-50029C7E8A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6" t="8461" r="40689" b="46508"/>
          <a:stretch/>
        </p:blipFill>
        <p:spPr bwMode="auto">
          <a:xfrm>
            <a:off x="4507107" y="2880779"/>
            <a:ext cx="972686" cy="1092622"/>
          </a:xfrm>
          <a:prstGeom prst="ellipse">
            <a:avLst/>
          </a:prstGeom>
          <a:ln w="635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8: Swipe on other user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6D2D27B-0F9B-4E8D-AE53-0BAA4B628719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B9FF673-360A-4658-9190-E5EAE60A22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3085" y="4060733"/>
            <a:ext cx="2924175" cy="495300"/>
          </a:xfrm>
          <a:prstGeom prst="rect">
            <a:avLst/>
          </a:prstGeom>
        </p:spPr>
      </p:pic>
      <p:sp>
        <p:nvSpPr>
          <p:cNvPr id="25" name="Freeform 806">
            <a:extLst>
              <a:ext uri="{FF2B5EF4-FFF2-40B4-BE49-F238E27FC236}">
                <a16:creationId xmlns:a16="http://schemas.microsoft.com/office/drawing/2014/main" id="{12CAE29E-45AF-418F-9DB7-075EE76ADEC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Freeform 1380">
            <a:extLst>
              <a:ext uri="{FF2B5EF4-FFF2-40B4-BE49-F238E27FC236}">
                <a16:creationId xmlns:a16="http://schemas.microsoft.com/office/drawing/2014/main" id="{8459E00B-BAD2-464E-9B32-D5189632E88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BF4186C-D6C3-42AE-9608-3C43A99EDED9}"/>
              </a:ext>
            </a:extLst>
          </p:cNvPr>
          <p:cNvGrpSpPr/>
          <p:nvPr/>
        </p:nvGrpSpPr>
        <p:grpSpPr>
          <a:xfrm>
            <a:off x="5255266" y="1146391"/>
            <a:ext cx="1210069" cy="418511"/>
            <a:chOff x="8597394" y="2882015"/>
            <a:chExt cx="1581535" cy="546985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19F3B2-7590-4D3B-B7C6-89EB9F404A23}"/>
                </a:ext>
              </a:extLst>
            </p:cNvPr>
            <p:cNvGrpSpPr/>
            <p:nvPr/>
          </p:nvGrpSpPr>
          <p:grpSpPr>
            <a:xfrm>
              <a:off x="9217985" y="2966761"/>
              <a:ext cx="960944" cy="459515"/>
              <a:chOff x="9217985" y="2966761"/>
              <a:chExt cx="960944" cy="459515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C2CE9857-061E-46B4-AFDD-D70B49E66B4C}"/>
                  </a:ext>
                </a:extLst>
              </p:cNvPr>
              <p:cNvSpPr/>
              <p:nvPr/>
            </p:nvSpPr>
            <p:spPr>
              <a:xfrm>
                <a:off x="9217985" y="2966761"/>
                <a:ext cx="960944" cy="459515"/>
              </a:xfrm>
              <a:prstGeom prst="roundRect">
                <a:avLst>
                  <a:gd name="adj" fmla="val 86146"/>
                </a:avLst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Freeform 967">
                <a:extLst>
                  <a:ext uri="{FF2B5EF4-FFF2-40B4-BE49-F238E27FC236}">
                    <a16:creationId xmlns:a16="http://schemas.microsoft.com/office/drawing/2014/main" id="{655276BC-8708-41AA-804B-1F5DF29A28A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0719" y="3010764"/>
                <a:ext cx="395475" cy="371507"/>
              </a:xfrm>
              <a:custGeom>
                <a:avLst/>
                <a:gdLst>
                  <a:gd name="T0" fmla="*/ 108 w 629"/>
                  <a:gd name="T1" fmla="*/ 334 h 585"/>
                  <a:gd name="T2" fmla="*/ 64 w 629"/>
                  <a:gd name="T3" fmla="*/ 334 h 585"/>
                  <a:gd name="T4" fmla="*/ 1 w 629"/>
                  <a:gd name="T5" fmla="*/ 282 h 585"/>
                  <a:gd name="T6" fmla="*/ 41 w 629"/>
                  <a:gd name="T7" fmla="*/ 167 h 585"/>
                  <a:gd name="T8" fmla="*/ 126 w 629"/>
                  <a:gd name="T9" fmla="*/ 195 h 585"/>
                  <a:gd name="T10" fmla="*/ 170 w 629"/>
                  <a:gd name="T11" fmla="*/ 187 h 585"/>
                  <a:gd name="T12" fmla="*/ 168 w 629"/>
                  <a:gd name="T13" fmla="*/ 209 h 585"/>
                  <a:gd name="T14" fmla="*/ 194 w 629"/>
                  <a:gd name="T15" fmla="*/ 293 h 585"/>
                  <a:gd name="T16" fmla="*/ 108 w 629"/>
                  <a:gd name="T17" fmla="*/ 334 h 585"/>
                  <a:gd name="T18" fmla="*/ 126 w 629"/>
                  <a:gd name="T19" fmla="*/ 167 h 585"/>
                  <a:gd name="T20" fmla="*/ 43 w 629"/>
                  <a:gd name="T21" fmla="*/ 83 h 585"/>
                  <a:gd name="T22" fmla="*/ 126 w 629"/>
                  <a:gd name="T23" fmla="*/ 0 h 585"/>
                  <a:gd name="T24" fmla="*/ 210 w 629"/>
                  <a:gd name="T25" fmla="*/ 83 h 585"/>
                  <a:gd name="T26" fmla="*/ 126 w 629"/>
                  <a:gd name="T27" fmla="*/ 167 h 585"/>
                  <a:gd name="T28" fmla="*/ 457 w 629"/>
                  <a:gd name="T29" fmla="*/ 585 h 585"/>
                  <a:gd name="T30" fmla="*/ 172 w 629"/>
                  <a:gd name="T31" fmla="*/ 585 h 585"/>
                  <a:gd name="T32" fmla="*/ 84 w 629"/>
                  <a:gd name="T33" fmla="*/ 501 h 585"/>
                  <a:gd name="T34" fmla="*/ 197 w 629"/>
                  <a:gd name="T35" fmla="*/ 313 h 585"/>
                  <a:gd name="T36" fmla="*/ 314 w 629"/>
                  <a:gd name="T37" fmla="*/ 359 h 585"/>
                  <a:gd name="T38" fmla="*/ 431 w 629"/>
                  <a:gd name="T39" fmla="*/ 313 h 585"/>
                  <a:gd name="T40" fmla="*/ 544 w 629"/>
                  <a:gd name="T41" fmla="*/ 501 h 585"/>
                  <a:gd name="T42" fmla="*/ 457 w 629"/>
                  <a:gd name="T43" fmla="*/ 585 h 585"/>
                  <a:gd name="T44" fmla="*/ 314 w 629"/>
                  <a:gd name="T45" fmla="*/ 334 h 585"/>
                  <a:gd name="T46" fmla="*/ 189 w 629"/>
                  <a:gd name="T47" fmla="*/ 209 h 585"/>
                  <a:gd name="T48" fmla="*/ 314 w 629"/>
                  <a:gd name="T49" fmla="*/ 83 h 585"/>
                  <a:gd name="T50" fmla="*/ 440 w 629"/>
                  <a:gd name="T51" fmla="*/ 209 h 585"/>
                  <a:gd name="T52" fmla="*/ 314 w 629"/>
                  <a:gd name="T53" fmla="*/ 334 h 585"/>
                  <a:gd name="T54" fmla="*/ 503 w 629"/>
                  <a:gd name="T55" fmla="*/ 167 h 585"/>
                  <a:gd name="T56" fmla="*/ 419 w 629"/>
                  <a:gd name="T57" fmla="*/ 83 h 585"/>
                  <a:gd name="T58" fmla="*/ 503 w 629"/>
                  <a:gd name="T59" fmla="*/ 0 h 585"/>
                  <a:gd name="T60" fmla="*/ 586 w 629"/>
                  <a:gd name="T61" fmla="*/ 83 h 585"/>
                  <a:gd name="T62" fmla="*/ 503 w 629"/>
                  <a:gd name="T63" fmla="*/ 167 h 585"/>
                  <a:gd name="T64" fmla="*/ 565 w 629"/>
                  <a:gd name="T65" fmla="*/ 334 h 585"/>
                  <a:gd name="T66" fmla="*/ 521 w 629"/>
                  <a:gd name="T67" fmla="*/ 334 h 585"/>
                  <a:gd name="T68" fmla="*/ 434 w 629"/>
                  <a:gd name="T69" fmla="*/ 293 h 585"/>
                  <a:gd name="T70" fmla="*/ 461 w 629"/>
                  <a:gd name="T71" fmla="*/ 209 h 585"/>
                  <a:gd name="T72" fmla="*/ 459 w 629"/>
                  <a:gd name="T73" fmla="*/ 187 h 585"/>
                  <a:gd name="T74" fmla="*/ 503 w 629"/>
                  <a:gd name="T75" fmla="*/ 195 h 585"/>
                  <a:gd name="T76" fmla="*/ 588 w 629"/>
                  <a:gd name="T77" fmla="*/ 167 h 585"/>
                  <a:gd name="T78" fmla="*/ 628 w 629"/>
                  <a:gd name="T79" fmla="*/ 282 h 585"/>
                  <a:gd name="T80" fmla="*/ 565 w 629"/>
                  <a:gd name="T81" fmla="*/ 334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9" h="585">
                    <a:moveTo>
                      <a:pt x="108" y="334"/>
                    </a:moveTo>
                    <a:cubicBezTo>
                      <a:pt x="64" y="334"/>
                      <a:pt x="64" y="334"/>
                      <a:pt x="64" y="334"/>
                    </a:cubicBezTo>
                    <a:cubicBezTo>
                      <a:pt x="31" y="334"/>
                      <a:pt x="1" y="319"/>
                      <a:pt x="1" y="282"/>
                    </a:cubicBezTo>
                    <a:cubicBezTo>
                      <a:pt x="1" y="256"/>
                      <a:pt x="0" y="167"/>
                      <a:pt x="41" y="167"/>
                    </a:cubicBezTo>
                    <a:cubicBezTo>
                      <a:pt x="48" y="167"/>
                      <a:pt x="82" y="195"/>
                      <a:pt x="126" y="195"/>
                    </a:cubicBezTo>
                    <a:cubicBezTo>
                      <a:pt x="141" y="195"/>
                      <a:pt x="156" y="192"/>
                      <a:pt x="170" y="187"/>
                    </a:cubicBezTo>
                    <a:cubicBezTo>
                      <a:pt x="169" y="195"/>
                      <a:pt x="168" y="202"/>
                      <a:pt x="168" y="209"/>
                    </a:cubicBezTo>
                    <a:cubicBezTo>
                      <a:pt x="168" y="239"/>
                      <a:pt x="177" y="268"/>
                      <a:pt x="194" y="293"/>
                    </a:cubicBezTo>
                    <a:cubicBezTo>
                      <a:pt x="160" y="294"/>
                      <a:pt x="130" y="308"/>
                      <a:pt x="108" y="334"/>
                    </a:cubicBezTo>
                    <a:close/>
                    <a:moveTo>
                      <a:pt x="126" y="167"/>
                    </a:moveTo>
                    <a:cubicBezTo>
                      <a:pt x="80" y="167"/>
                      <a:pt x="43" y="129"/>
                      <a:pt x="43" y="83"/>
                    </a:cubicBezTo>
                    <a:cubicBezTo>
                      <a:pt x="43" y="37"/>
                      <a:pt x="80" y="0"/>
                      <a:pt x="126" y="0"/>
                    </a:cubicBezTo>
                    <a:cubicBezTo>
                      <a:pt x="172" y="0"/>
                      <a:pt x="210" y="37"/>
                      <a:pt x="210" y="83"/>
                    </a:cubicBezTo>
                    <a:cubicBezTo>
                      <a:pt x="210" y="129"/>
                      <a:pt x="172" y="167"/>
                      <a:pt x="126" y="167"/>
                    </a:cubicBezTo>
                    <a:close/>
                    <a:moveTo>
                      <a:pt x="457" y="585"/>
                    </a:moveTo>
                    <a:cubicBezTo>
                      <a:pt x="172" y="585"/>
                      <a:pt x="172" y="585"/>
                      <a:pt x="172" y="585"/>
                    </a:cubicBezTo>
                    <a:cubicBezTo>
                      <a:pt x="119" y="585"/>
                      <a:pt x="84" y="554"/>
                      <a:pt x="84" y="501"/>
                    </a:cubicBezTo>
                    <a:cubicBezTo>
                      <a:pt x="84" y="427"/>
                      <a:pt x="102" y="313"/>
                      <a:pt x="197" y="313"/>
                    </a:cubicBezTo>
                    <a:cubicBezTo>
                      <a:pt x="208" y="313"/>
                      <a:pt x="249" y="359"/>
                      <a:pt x="314" y="359"/>
                    </a:cubicBezTo>
                    <a:cubicBezTo>
                      <a:pt x="380" y="359"/>
                      <a:pt x="420" y="313"/>
                      <a:pt x="431" y="313"/>
                    </a:cubicBezTo>
                    <a:cubicBezTo>
                      <a:pt x="527" y="313"/>
                      <a:pt x="544" y="427"/>
                      <a:pt x="544" y="501"/>
                    </a:cubicBezTo>
                    <a:cubicBezTo>
                      <a:pt x="544" y="554"/>
                      <a:pt x="509" y="585"/>
                      <a:pt x="457" y="585"/>
                    </a:cubicBezTo>
                    <a:close/>
                    <a:moveTo>
                      <a:pt x="314" y="334"/>
                    </a:moveTo>
                    <a:cubicBezTo>
                      <a:pt x="245" y="334"/>
                      <a:pt x="189" y="278"/>
                      <a:pt x="189" y="209"/>
                    </a:cubicBezTo>
                    <a:cubicBezTo>
                      <a:pt x="189" y="140"/>
                      <a:pt x="245" y="83"/>
                      <a:pt x="314" y="83"/>
                    </a:cubicBezTo>
                    <a:cubicBezTo>
                      <a:pt x="384" y="83"/>
                      <a:pt x="440" y="140"/>
                      <a:pt x="440" y="209"/>
                    </a:cubicBezTo>
                    <a:cubicBezTo>
                      <a:pt x="440" y="278"/>
                      <a:pt x="384" y="334"/>
                      <a:pt x="314" y="334"/>
                    </a:cubicBezTo>
                    <a:close/>
                    <a:moveTo>
                      <a:pt x="503" y="167"/>
                    </a:moveTo>
                    <a:cubicBezTo>
                      <a:pt x="456" y="167"/>
                      <a:pt x="419" y="129"/>
                      <a:pt x="419" y="83"/>
                    </a:cubicBezTo>
                    <a:cubicBezTo>
                      <a:pt x="419" y="37"/>
                      <a:pt x="456" y="0"/>
                      <a:pt x="503" y="0"/>
                    </a:cubicBezTo>
                    <a:cubicBezTo>
                      <a:pt x="549" y="0"/>
                      <a:pt x="586" y="37"/>
                      <a:pt x="586" y="83"/>
                    </a:cubicBezTo>
                    <a:cubicBezTo>
                      <a:pt x="586" y="129"/>
                      <a:pt x="549" y="167"/>
                      <a:pt x="503" y="167"/>
                    </a:cubicBezTo>
                    <a:close/>
                    <a:moveTo>
                      <a:pt x="565" y="334"/>
                    </a:moveTo>
                    <a:cubicBezTo>
                      <a:pt x="521" y="334"/>
                      <a:pt x="521" y="334"/>
                      <a:pt x="521" y="334"/>
                    </a:cubicBezTo>
                    <a:cubicBezTo>
                      <a:pt x="499" y="308"/>
                      <a:pt x="468" y="294"/>
                      <a:pt x="434" y="293"/>
                    </a:cubicBezTo>
                    <a:cubicBezTo>
                      <a:pt x="451" y="268"/>
                      <a:pt x="461" y="239"/>
                      <a:pt x="461" y="209"/>
                    </a:cubicBezTo>
                    <a:cubicBezTo>
                      <a:pt x="461" y="202"/>
                      <a:pt x="460" y="195"/>
                      <a:pt x="459" y="187"/>
                    </a:cubicBezTo>
                    <a:cubicBezTo>
                      <a:pt x="473" y="192"/>
                      <a:pt x="488" y="195"/>
                      <a:pt x="503" y="195"/>
                    </a:cubicBezTo>
                    <a:cubicBezTo>
                      <a:pt x="547" y="195"/>
                      <a:pt x="581" y="167"/>
                      <a:pt x="588" y="167"/>
                    </a:cubicBezTo>
                    <a:cubicBezTo>
                      <a:pt x="629" y="167"/>
                      <a:pt x="628" y="256"/>
                      <a:pt x="628" y="282"/>
                    </a:cubicBezTo>
                    <a:cubicBezTo>
                      <a:pt x="628" y="319"/>
                      <a:pt x="597" y="334"/>
                      <a:pt x="565" y="33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CC81BB4-1B89-4367-AC5B-7AAA40D9A961}"/>
                </a:ext>
              </a:extLst>
            </p:cNvPr>
            <p:cNvSpPr/>
            <p:nvPr/>
          </p:nvSpPr>
          <p:spPr>
            <a:xfrm>
              <a:off x="9217985" y="2966761"/>
              <a:ext cx="960944" cy="459515"/>
            </a:xfrm>
            <a:prstGeom prst="roundRect">
              <a:avLst>
                <a:gd name="adj" fmla="val 86146"/>
              </a:avLst>
            </a:prstGeom>
            <a:solidFill>
              <a:schemeClr val="bg1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01B20166-D3D2-4D74-9276-DB5FFE1647D8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AE1D65F-36C9-474A-9F5D-54C2D53E4E44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43AB8755-F41B-467D-AA36-9DBB637983D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5E88F01E-EBCA-450E-9279-C899E6382E5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3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734499B7-9B33-4FDD-9DA1-EEEFC567B27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1" name="Arc 40">
                <a:extLst>
                  <a:ext uri="{FF2B5EF4-FFF2-40B4-BE49-F238E27FC236}">
                    <a16:creationId xmlns:a16="http://schemas.microsoft.com/office/drawing/2014/main" id="{A8D4BEC4-67DA-4412-BFB5-9427B0DF7822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7457D0D6-C839-4E62-AB41-B2EA070CE4B1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FB383F7-9149-4C2E-B892-3AABBF9C9041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Duo / Group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C0D2DB2-0885-48AC-B495-338346222BE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61A366C-F577-4348-83D2-5442B1D543F4}"/>
              </a:ext>
            </a:extLst>
          </p:cNvPr>
          <p:cNvSpPr txBox="1"/>
          <p:nvPr/>
        </p:nvSpPr>
        <p:spPr>
          <a:xfrm>
            <a:off x="5479793" y="3353114"/>
            <a:ext cx="2371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Montserrat" panose="00000500000000000000" pitchFamily="2" charset="0"/>
              </a:rPr>
              <a:t>Ninja, 27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AD0220C-ACE4-4267-A6E0-6652C98C0621}"/>
              </a:ext>
            </a:extLst>
          </p:cNvPr>
          <p:cNvSpPr txBox="1"/>
          <p:nvPr/>
        </p:nvSpPr>
        <p:spPr>
          <a:xfrm>
            <a:off x="5476955" y="3584720"/>
            <a:ext cx="2371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latin typeface="Montserrat" panose="00000500000000000000" pitchFamily="2" charset="0"/>
              </a:rPr>
              <a:t>Frankfurt Am Main, Germany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BBC4185-C022-4FDC-876B-7BC3FFDA3089}"/>
              </a:ext>
            </a:extLst>
          </p:cNvPr>
          <p:cNvSpPr txBox="1"/>
          <p:nvPr/>
        </p:nvSpPr>
        <p:spPr>
          <a:xfrm>
            <a:off x="4398853" y="5692010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Summary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45DFED2-69D0-4D8F-BB33-C35016012729}"/>
              </a:ext>
            </a:extLst>
          </p:cNvPr>
          <p:cNvSpPr txBox="1"/>
          <p:nvPr/>
        </p:nvSpPr>
        <p:spPr>
          <a:xfrm>
            <a:off x="5364909" y="5692979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Gaming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AA5BB8-1931-429E-A85B-074F125B78E2}"/>
              </a:ext>
            </a:extLst>
          </p:cNvPr>
          <p:cNvSpPr txBox="1"/>
          <p:nvPr/>
        </p:nvSpPr>
        <p:spPr>
          <a:xfrm>
            <a:off x="6431996" y="5692010"/>
            <a:ext cx="9841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ersonal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DFFD8D3-7BF9-44C2-A7B3-85C8BCDAEA21}"/>
              </a:ext>
            </a:extLst>
          </p:cNvPr>
          <p:cNvCxnSpPr>
            <a:cxnSpLocks/>
          </p:cNvCxnSpPr>
          <p:nvPr/>
        </p:nvCxnSpPr>
        <p:spPr>
          <a:xfrm flipV="1">
            <a:off x="4481022" y="6089260"/>
            <a:ext cx="881452" cy="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5EFCC389-D5DC-440F-A57C-4319B9902E25}"/>
              </a:ext>
            </a:extLst>
          </p:cNvPr>
          <p:cNvCxnSpPr>
            <a:cxnSpLocks/>
          </p:cNvCxnSpPr>
          <p:nvPr/>
        </p:nvCxnSpPr>
        <p:spPr>
          <a:xfrm flipV="1">
            <a:off x="5457201" y="6089260"/>
            <a:ext cx="881452" cy="1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F0B5BD0-18B3-4D1B-9FD9-9560856BE580}"/>
              </a:ext>
            </a:extLst>
          </p:cNvPr>
          <p:cNvCxnSpPr>
            <a:cxnSpLocks/>
          </p:cNvCxnSpPr>
          <p:nvPr/>
        </p:nvCxnSpPr>
        <p:spPr>
          <a:xfrm flipV="1">
            <a:off x="6478563" y="6089260"/>
            <a:ext cx="881452" cy="1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70E8F02-BFBA-4E03-B6B9-0FDC8653D4C4}"/>
              </a:ext>
            </a:extLst>
          </p:cNvPr>
          <p:cNvSpPr txBox="1"/>
          <p:nvPr/>
        </p:nvSpPr>
        <p:spPr>
          <a:xfrm>
            <a:off x="4387235" y="4588023"/>
            <a:ext cx="13134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About me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6B2083D-ADC7-4249-A253-D320772C8D89}"/>
              </a:ext>
            </a:extLst>
          </p:cNvPr>
          <p:cNvSpPr txBox="1"/>
          <p:nvPr/>
        </p:nvSpPr>
        <p:spPr>
          <a:xfrm>
            <a:off x="6085328" y="4588023"/>
            <a:ext cx="13134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Looking for: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635C9BA8-76B3-4DE2-B5A1-1ECA81A8F3F3}"/>
              </a:ext>
            </a:extLst>
          </p:cNvPr>
          <p:cNvSpPr/>
          <p:nvPr/>
        </p:nvSpPr>
        <p:spPr>
          <a:xfrm>
            <a:off x="4533732" y="5107219"/>
            <a:ext cx="1039360" cy="191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Casual Gaming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3134ACB6-D572-4A44-9C7D-C6A89DB7C016}"/>
              </a:ext>
            </a:extLst>
          </p:cNvPr>
          <p:cNvSpPr/>
          <p:nvPr/>
        </p:nvSpPr>
        <p:spPr>
          <a:xfrm>
            <a:off x="4533440" y="4885631"/>
            <a:ext cx="1066036" cy="1913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Communicative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2C10F01D-9E4A-4823-99D7-52F5ADFBD55F}"/>
              </a:ext>
            </a:extLst>
          </p:cNvPr>
          <p:cNvSpPr/>
          <p:nvPr/>
        </p:nvSpPr>
        <p:spPr>
          <a:xfrm>
            <a:off x="6161858" y="4885631"/>
            <a:ext cx="430376" cy="1913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Fun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CB893C5B-7E92-45FD-9216-FBB7A25B10D5}"/>
              </a:ext>
            </a:extLst>
          </p:cNvPr>
          <p:cNvSpPr/>
          <p:nvPr/>
        </p:nvSpPr>
        <p:spPr>
          <a:xfrm>
            <a:off x="6170748" y="5107219"/>
            <a:ext cx="939982" cy="1913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Conversations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800BC834-6D04-4DA3-BC39-77DA2242B473}"/>
              </a:ext>
            </a:extLst>
          </p:cNvPr>
          <p:cNvSpPr/>
          <p:nvPr/>
        </p:nvSpPr>
        <p:spPr>
          <a:xfrm>
            <a:off x="6620663" y="4885631"/>
            <a:ext cx="787582" cy="1913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Team work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575AC362-F992-42F0-9DDD-57DA8E61E54B}"/>
              </a:ext>
            </a:extLst>
          </p:cNvPr>
          <p:cNvSpPr/>
          <p:nvPr/>
        </p:nvSpPr>
        <p:spPr>
          <a:xfrm>
            <a:off x="4538080" y="5326384"/>
            <a:ext cx="787582" cy="1913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Team work</a:t>
            </a:r>
          </a:p>
        </p:txBody>
      </p:sp>
    </p:spTree>
    <p:extLst>
      <p:ext uri="{BB962C8B-B14F-4D97-AF65-F5344CB8AC3E}">
        <p14:creationId xmlns:p14="http://schemas.microsoft.com/office/powerpoint/2010/main" val="23814116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1AF711E-9637-4899-A41E-3237CD94DC9E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0" name="Picture 4" descr="Day in the Life: Fortnite Legend Tyler &quot;Ninja&quot; Blevins">
            <a:extLst>
              <a:ext uri="{FF2B5EF4-FFF2-40B4-BE49-F238E27FC236}">
                <a16:creationId xmlns:a16="http://schemas.microsoft.com/office/drawing/2014/main" id="{A93302CD-7637-4CEB-9A62-50029C7E8A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00" r="29380"/>
          <a:stretch/>
        </p:blipFill>
        <p:spPr bwMode="auto">
          <a:xfrm>
            <a:off x="4435839" y="1754203"/>
            <a:ext cx="2924176" cy="394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8: Swipe on other user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6D2D27B-0F9B-4E8D-AE53-0BAA4B628719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806">
            <a:extLst>
              <a:ext uri="{FF2B5EF4-FFF2-40B4-BE49-F238E27FC236}">
                <a16:creationId xmlns:a16="http://schemas.microsoft.com/office/drawing/2014/main" id="{12CAE29E-45AF-418F-9DB7-075EE76ADEC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Freeform 1380">
            <a:extLst>
              <a:ext uri="{FF2B5EF4-FFF2-40B4-BE49-F238E27FC236}">
                <a16:creationId xmlns:a16="http://schemas.microsoft.com/office/drawing/2014/main" id="{8459E00B-BAD2-464E-9B32-D5189632E88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BF4186C-D6C3-42AE-9608-3C43A99EDED9}"/>
              </a:ext>
            </a:extLst>
          </p:cNvPr>
          <p:cNvGrpSpPr/>
          <p:nvPr/>
        </p:nvGrpSpPr>
        <p:grpSpPr>
          <a:xfrm>
            <a:off x="5255266" y="1146391"/>
            <a:ext cx="1210069" cy="418511"/>
            <a:chOff x="8597394" y="2882015"/>
            <a:chExt cx="1581535" cy="546985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19F3B2-7590-4D3B-B7C6-89EB9F404A23}"/>
                </a:ext>
              </a:extLst>
            </p:cNvPr>
            <p:cNvGrpSpPr/>
            <p:nvPr/>
          </p:nvGrpSpPr>
          <p:grpSpPr>
            <a:xfrm>
              <a:off x="9217985" y="2966761"/>
              <a:ext cx="960944" cy="459515"/>
              <a:chOff x="9217985" y="2966761"/>
              <a:chExt cx="960944" cy="459515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C2CE9857-061E-46B4-AFDD-D70B49E66B4C}"/>
                  </a:ext>
                </a:extLst>
              </p:cNvPr>
              <p:cNvSpPr/>
              <p:nvPr/>
            </p:nvSpPr>
            <p:spPr>
              <a:xfrm>
                <a:off x="9217985" y="2966761"/>
                <a:ext cx="960944" cy="459515"/>
              </a:xfrm>
              <a:prstGeom prst="roundRect">
                <a:avLst>
                  <a:gd name="adj" fmla="val 86146"/>
                </a:avLst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Freeform 967">
                <a:extLst>
                  <a:ext uri="{FF2B5EF4-FFF2-40B4-BE49-F238E27FC236}">
                    <a16:creationId xmlns:a16="http://schemas.microsoft.com/office/drawing/2014/main" id="{655276BC-8708-41AA-804B-1F5DF29A28A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0719" y="3010764"/>
                <a:ext cx="395475" cy="371507"/>
              </a:xfrm>
              <a:custGeom>
                <a:avLst/>
                <a:gdLst>
                  <a:gd name="T0" fmla="*/ 108 w 629"/>
                  <a:gd name="T1" fmla="*/ 334 h 585"/>
                  <a:gd name="T2" fmla="*/ 64 w 629"/>
                  <a:gd name="T3" fmla="*/ 334 h 585"/>
                  <a:gd name="T4" fmla="*/ 1 w 629"/>
                  <a:gd name="T5" fmla="*/ 282 h 585"/>
                  <a:gd name="T6" fmla="*/ 41 w 629"/>
                  <a:gd name="T7" fmla="*/ 167 h 585"/>
                  <a:gd name="T8" fmla="*/ 126 w 629"/>
                  <a:gd name="T9" fmla="*/ 195 h 585"/>
                  <a:gd name="T10" fmla="*/ 170 w 629"/>
                  <a:gd name="T11" fmla="*/ 187 h 585"/>
                  <a:gd name="T12" fmla="*/ 168 w 629"/>
                  <a:gd name="T13" fmla="*/ 209 h 585"/>
                  <a:gd name="T14" fmla="*/ 194 w 629"/>
                  <a:gd name="T15" fmla="*/ 293 h 585"/>
                  <a:gd name="T16" fmla="*/ 108 w 629"/>
                  <a:gd name="T17" fmla="*/ 334 h 585"/>
                  <a:gd name="T18" fmla="*/ 126 w 629"/>
                  <a:gd name="T19" fmla="*/ 167 h 585"/>
                  <a:gd name="T20" fmla="*/ 43 w 629"/>
                  <a:gd name="T21" fmla="*/ 83 h 585"/>
                  <a:gd name="T22" fmla="*/ 126 w 629"/>
                  <a:gd name="T23" fmla="*/ 0 h 585"/>
                  <a:gd name="T24" fmla="*/ 210 w 629"/>
                  <a:gd name="T25" fmla="*/ 83 h 585"/>
                  <a:gd name="T26" fmla="*/ 126 w 629"/>
                  <a:gd name="T27" fmla="*/ 167 h 585"/>
                  <a:gd name="T28" fmla="*/ 457 w 629"/>
                  <a:gd name="T29" fmla="*/ 585 h 585"/>
                  <a:gd name="T30" fmla="*/ 172 w 629"/>
                  <a:gd name="T31" fmla="*/ 585 h 585"/>
                  <a:gd name="T32" fmla="*/ 84 w 629"/>
                  <a:gd name="T33" fmla="*/ 501 h 585"/>
                  <a:gd name="T34" fmla="*/ 197 w 629"/>
                  <a:gd name="T35" fmla="*/ 313 h 585"/>
                  <a:gd name="T36" fmla="*/ 314 w 629"/>
                  <a:gd name="T37" fmla="*/ 359 h 585"/>
                  <a:gd name="T38" fmla="*/ 431 w 629"/>
                  <a:gd name="T39" fmla="*/ 313 h 585"/>
                  <a:gd name="T40" fmla="*/ 544 w 629"/>
                  <a:gd name="T41" fmla="*/ 501 h 585"/>
                  <a:gd name="T42" fmla="*/ 457 w 629"/>
                  <a:gd name="T43" fmla="*/ 585 h 585"/>
                  <a:gd name="T44" fmla="*/ 314 w 629"/>
                  <a:gd name="T45" fmla="*/ 334 h 585"/>
                  <a:gd name="T46" fmla="*/ 189 w 629"/>
                  <a:gd name="T47" fmla="*/ 209 h 585"/>
                  <a:gd name="T48" fmla="*/ 314 w 629"/>
                  <a:gd name="T49" fmla="*/ 83 h 585"/>
                  <a:gd name="T50" fmla="*/ 440 w 629"/>
                  <a:gd name="T51" fmla="*/ 209 h 585"/>
                  <a:gd name="T52" fmla="*/ 314 w 629"/>
                  <a:gd name="T53" fmla="*/ 334 h 585"/>
                  <a:gd name="T54" fmla="*/ 503 w 629"/>
                  <a:gd name="T55" fmla="*/ 167 h 585"/>
                  <a:gd name="T56" fmla="*/ 419 w 629"/>
                  <a:gd name="T57" fmla="*/ 83 h 585"/>
                  <a:gd name="T58" fmla="*/ 503 w 629"/>
                  <a:gd name="T59" fmla="*/ 0 h 585"/>
                  <a:gd name="T60" fmla="*/ 586 w 629"/>
                  <a:gd name="T61" fmla="*/ 83 h 585"/>
                  <a:gd name="T62" fmla="*/ 503 w 629"/>
                  <a:gd name="T63" fmla="*/ 167 h 585"/>
                  <a:gd name="T64" fmla="*/ 565 w 629"/>
                  <a:gd name="T65" fmla="*/ 334 h 585"/>
                  <a:gd name="T66" fmla="*/ 521 w 629"/>
                  <a:gd name="T67" fmla="*/ 334 h 585"/>
                  <a:gd name="T68" fmla="*/ 434 w 629"/>
                  <a:gd name="T69" fmla="*/ 293 h 585"/>
                  <a:gd name="T70" fmla="*/ 461 w 629"/>
                  <a:gd name="T71" fmla="*/ 209 h 585"/>
                  <a:gd name="T72" fmla="*/ 459 w 629"/>
                  <a:gd name="T73" fmla="*/ 187 h 585"/>
                  <a:gd name="T74" fmla="*/ 503 w 629"/>
                  <a:gd name="T75" fmla="*/ 195 h 585"/>
                  <a:gd name="T76" fmla="*/ 588 w 629"/>
                  <a:gd name="T77" fmla="*/ 167 h 585"/>
                  <a:gd name="T78" fmla="*/ 628 w 629"/>
                  <a:gd name="T79" fmla="*/ 282 h 585"/>
                  <a:gd name="T80" fmla="*/ 565 w 629"/>
                  <a:gd name="T81" fmla="*/ 334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9" h="585">
                    <a:moveTo>
                      <a:pt x="108" y="334"/>
                    </a:moveTo>
                    <a:cubicBezTo>
                      <a:pt x="64" y="334"/>
                      <a:pt x="64" y="334"/>
                      <a:pt x="64" y="334"/>
                    </a:cubicBezTo>
                    <a:cubicBezTo>
                      <a:pt x="31" y="334"/>
                      <a:pt x="1" y="319"/>
                      <a:pt x="1" y="282"/>
                    </a:cubicBezTo>
                    <a:cubicBezTo>
                      <a:pt x="1" y="256"/>
                      <a:pt x="0" y="167"/>
                      <a:pt x="41" y="167"/>
                    </a:cubicBezTo>
                    <a:cubicBezTo>
                      <a:pt x="48" y="167"/>
                      <a:pt x="82" y="195"/>
                      <a:pt x="126" y="195"/>
                    </a:cubicBezTo>
                    <a:cubicBezTo>
                      <a:pt x="141" y="195"/>
                      <a:pt x="156" y="192"/>
                      <a:pt x="170" y="187"/>
                    </a:cubicBezTo>
                    <a:cubicBezTo>
                      <a:pt x="169" y="195"/>
                      <a:pt x="168" y="202"/>
                      <a:pt x="168" y="209"/>
                    </a:cubicBezTo>
                    <a:cubicBezTo>
                      <a:pt x="168" y="239"/>
                      <a:pt x="177" y="268"/>
                      <a:pt x="194" y="293"/>
                    </a:cubicBezTo>
                    <a:cubicBezTo>
                      <a:pt x="160" y="294"/>
                      <a:pt x="130" y="308"/>
                      <a:pt x="108" y="334"/>
                    </a:cubicBezTo>
                    <a:close/>
                    <a:moveTo>
                      <a:pt x="126" y="167"/>
                    </a:moveTo>
                    <a:cubicBezTo>
                      <a:pt x="80" y="167"/>
                      <a:pt x="43" y="129"/>
                      <a:pt x="43" y="83"/>
                    </a:cubicBezTo>
                    <a:cubicBezTo>
                      <a:pt x="43" y="37"/>
                      <a:pt x="80" y="0"/>
                      <a:pt x="126" y="0"/>
                    </a:cubicBezTo>
                    <a:cubicBezTo>
                      <a:pt x="172" y="0"/>
                      <a:pt x="210" y="37"/>
                      <a:pt x="210" y="83"/>
                    </a:cubicBezTo>
                    <a:cubicBezTo>
                      <a:pt x="210" y="129"/>
                      <a:pt x="172" y="167"/>
                      <a:pt x="126" y="167"/>
                    </a:cubicBezTo>
                    <a:close/>
                    <a:moveTo>
                      <a:pt x="457" y="585"/>
                    </a:moveTo>
                    <a:cubicBezTo>
                      <a:pt x="172" y="585"/>
                      <a:pt x="172" y="585"/>
                      <a:pt x="172" y="585"/>
                    </a:cubicBezTo>
                    <a:cubicBezTo>
                      <a:pt x="119" y="585"/>
                      <a:pt x="84" y="554"/>
                      <a:pt x="84" y="501"/>
                    </a:cubicBezTo>
                    <a:cubicBezTo>
                      <a:pt x="84" y="427"/>
                      <a:pt x="102" y="313"/>
                      <a:pt x="197" y="313"/>
                    </a:cubicBezTo>
                    <a:cubicBezTo>
                      <a:pt x="208" y="313"/>
                      <a:pt x="249" y="359"/>
                      <a:pt x="314" y="359"/>
                    </a:cubicBezTo>
                    <a:cubicBezTo>
                      <a:pt x="380" y="359"/>
                      <a:pt x="420" y="313"/>
                      <a:pt x="431" y="313"/>
                    </a:cubicBezTo>
                    <a:cubicBezTo>
                      <a:pt x="527" y="313"/>
                      <a:pt x="544" y="427"/>
                      <a:pt x="544" y="501"/>
                    </a:cubicBezTo>
                    <a:cubicBezTo>
                      <a:pt x="544" y="554"/>
                      <a:pt x="509" y="585"/>
                      <a:pt x="457" y="585"/>
                    </a:cubicBezTo>
                    <a:close/>
                    <a:moveTo>
                      <a:pt x="314" y="334"/>
                    </a:moveTo>
                    <a:cubicBezTo>
                      <a:pt x="245" y="334"/>
                      <a:pt x="189" y="278"/>
                      <a:pt x="189" y="209"/>
                    </a:cubicBezTo>
                    <a:cubicBezTo>
                      <a:pt x="189" y="140"/>
                      <a:pt x="245" y="83"/>
                      <a:pt x="314" y="83"/>
                    </a:cubicBezTo>
                    <a:cubicBezTo>
                      <a:pt x="384" y="83"/>
                      <a:pt x="440" y="140"/>
                      <a:pt x="440" y="209"/>
                    </a:cubicBezTo>
                    <a:cubicBezTo>
                      <a:pt x="440" y="278"/>
                      <a:pt x="384" y="334"/>
                      <a:pt x="314" y="334"/>
                    </a:cubicBezTo>
                    <a:close/>
                    <a:moveTo>
                      <a:pt x="503" y="167"/>
                    </a:moveTo>
                    <a:cubicBezTo>
                      <a:pt x="456" y="167"/>
                      <a:pt x="419" y="129"/>
                      <a:pt x="419" y="83"/>
                    </a:cubicBezTo>
                    <a:cubicBezTo>
                      <a:pt x="419" y="37"/>
                      <a:pt x="456" y="0"/>
                      <a:pt x="503" y="0"/>
                    </a:cubicBezTo>
                    <a:cubicBezTo>
                      <a:pt x="549" y="0"/>
                      <a:pt x="586" y="37"/>
                      <a:pt x="586" y="83"/>
                    </a:cubicBezTo>
                    <a:cubicBezTo>
                      <a:pt x="586" y="129"/>
                      <a:pt x="549" y="167"/>
                      <a:pt x="503" y="167"/>
                    </a:cubicBezTo>
                    <a:close/>
                    <a:moveTo>
                      <a:pt x="565" y="334"/>
                    </a:moveTo>
                    <a:cubicBezTo>
                      <a:pt x="521" y="334"/>
                      <a:pt x="521" y="334"/>
                      <a:pt x="521" y="334"/>
                    </a:cubicBezTo>
                    <a:cubicBezTo>
                      <a:pt x="499" y="308"/>
                      <a:pt x="468" y="294"/>
                      <a:pt x="434" y="293"/>
                    </a:cubicBezTo>
                    <a:cubicBezTo>
                      <a:pt x="451" y="268"/>
                      <a:pt x="461" y="239"/>
                      <a:pt x="461" y="209"/>
                    </a:cubicBezTo>
                    <a:cubicBezTo>
                      <a:pt x="461" y="202"/>
                      <a:pt x="460" y="195"/>
                      <a:pt x="459" y="187"/>
                    </a:cubicBezTo>
                    <a:cubicBezTo>
                      <a:pt x="473" y="192"/>
                      <a:pt x="488" y="195"/>
                      <a:pt x="503" y="195"/>
                    </a:cubicBezTo>
                    <a:cubicBezTo>
                      <a:pt x="547" y="195"/>
                      <a:pt x="581" y="167"/>
                      <a:pt x="588" y="167"/>
                    </a:cubicBezTo>
                    <a:cubicBezTo>
                      <a:pt x="629" y="167"/>
                      <a:pt x="628" y="256"/>
                      <a:pt x="628" y="282"/>
                    </a:cubicBezTo>
                    <a:cubicBezTo>
                      <a:pt x="628" y="319"/>
                      <a:pt x="597" y="334"/>
                      <a:pt x="565" y="33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CC81BB4-1B89-4367-AC5B-7AAA40D9A961}"/>
                </a:ext>
              </a:extLst>
            </p:cNvPr>
            <p:cNvSpPr/>
            <p:nvPr/>
          </p:nvSpPr>
          <p:spPr>
            <a:xfrm>
              <a:off x="9217985" y="2966761"/>
              <a:ext cx="960944" cy="459515"/>
            </a:xfrm>
            <a:prstGeom prst="roundRect">
              <a:avLst>
                <a:gd name="adj" fmla="val 86146"/>
              </a:avLst>
            </a:prstGeom>
            <a:solidFill>
              <a:schemeClr val="bg1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01B20166-D3D2-4D74-9276-DB5FFE1647D8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AE1D65F-36C9-474A-9F5D-54C2D53E4E44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43AB8755-F41B-467D-AA36-9DBB637983D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5E88F01E-EBCA-450E-9279-C899E6382E5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3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734499B7-9B33-4FDD-9DA1-EEEFC567B27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1" name="Arc 40">
                <a:extLst>
                  <a:ext uri="{FF2B5EF4-FFF2-40B4-BE49-F238E27FC236}">
                    <a16:creationId xmlns:a16="http://schemas.microsoft.com/office/drawing/2014/main" id="{A8D4BEC4-67DA-4412-BFB5-9427B0DF7822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A28331D2-A551-4DD1-8D53-6D6FF60C23A8}"/>
              </a:ext>
            </a:extLst>
          </p:cNvPr>
          <p:cNvSpPr txBox="1"/>
          <p:nvPr/>
        </p:nvSpPr>
        <p:spPr>
          <a:xfrm>
            <a:off x="4398853" y="5692010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Summar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5776247-1F54-4F08-94EF-1119304481C2}"/>
              </a:ext>
            </a:extLst>
          </p:cNvPr>
          <p:cNvSpPr txBox="1"/>
          <p:nvPr/>
        </p:nvSpPr>
        <p:spPr>
          <a:xfrm>
            <a:off x="5364909" y="5692979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Gaming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87EFE74-5158-436E-BA4B-C0DB9D651906}"/>
              </a:ext>
            </a:extLst>
          </p:cNvPr>
          <p:cNvSpPr txBox="1"/>
          <p:nvPr/>
        </p:nvSpPr>
        <p:spPr>
          <a:xfrm>
            <a:off x="6431996" y="5692010"/>
            <a:ext cx="9841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ersonal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17E4E10-1097-40C6-84D9-746DCB244F0A}"/>
              </a:ext>
            </a:extLst>
          </p:cNvPr>
          <p:cNvCxnSpPr>
            <a:cxnSpLocks/>
          </p:cNvCxnSpPr>
          <p:nvPr/>
        </p:nvCxnSpPr>
        <p:spPr>
          <a:xfrm flipV="1">
            <a:off x="4481022" y="6089260"/>
            <a:ext cx="881452" cy="1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42BEC78-BE36-4E32-BB3C-26ADAA8EB023}"/>
              </a:ext>
            </a:extLst>
          </p:cNvPr>
          <p:cNvCxnSpPr>
            <a:cxnSpLocks/>
          </p:cNvCxnSpPr>
          <p:nvPr/>
        </p:nvCxnSpPr>
        <p:spPr>
          <a:xfrm flipV="1">
            <a:off x="5457201" y="6089260"/>
            <a:ext cx="881452" cy="1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29A591B-D216-4D89-8FD7-27CED84785D7}"/>
              </a:ext>
            </a:extLst>
          </p:cNvPr>
          <p:cNvCxnSpPr>
            <a:cxnSpLocks/>
          </p:cNvCxnSpPr>
          <p:nvPr/>
        </p:nvCxnSpPr>
        <p:spPr>
          <a:xfrm flipV="1">
            <a:off x="6478563" y="6089260"/>
            <a:ext cx="881452" cy="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7457D0D6-C839-4E62-AB41-B2EA070CE4B1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FB383F7-9149-4C2E-B892-3AABBF9C9041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Duo / Group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C0D2DB2-0885-48AC-B495-338346222BE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</p:spTree>
    <p:extLst>
      <p:ext uri="{BB962C8B-B14F-4D97-AF65-F5344CB8AC3E}">
        <p14:creationId xmlns:p14="http://schemas.microsoft.com/office/powerpoint/2010/main" val="27110703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32B5C39-E35A-4580-93B7-3734010ACE83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6: Manage my profile</a:t>
            </a:r>
          </a:p>
        </p:txBody>
      </p:sp>
      <p:pic>
        <p:nvPicPr>
          <p:cNvPr id="6" name="Picture 4" descr="Day in the Life: Fortnite Legend Tyler &quot;Ninja&quot; Blevins">
            <a:extLst>
              <a:ext uri="{FF2B5EF4-FFF2-40B4-BE49-F238E27FC236}">
                <a16:creationId xmlns:a16="http://schemas.microsoft.com/office/drawing/2014/main" id="{9CF13995-A275-4603-A5F1-1899F464A2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6" t="8461" r="40689" b="46508"/>
          <a:stretch/>
        </p:blipFill>
        <p:spPr bwMode="auto">
          <a:xfrm>
            <a:off x="5305965" y="1646029"/>
            <a:ext cx="1183921" cy="1329903"/>
          </a:xfrm>
          <a:prstGeom prst="ellipse">
            <a:avLst/>
          </a:prstGeom>
          <a:ln w="635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F4D02A-01BB-4791-BA36-DD37CA8607D8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06">
            <a:extLst>
              <a:ext uri="{FF2B5EF4-FFF2-40B4-BE49-F238E27FC236}">
                <a16:creationId xmlns:a16="http://schemas.microsoft.com/office/drawing/2014/main" id="{135568C3-548B-4763-8C89-CC540205E1C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1380">
            <a:extLst>
              <a:ext uri="{FF2B5EF4-FFF2-40B4-BE49-F238E27FC236}">
                <a16:creationId xmlns:a16="http://schemas.microsoft.com/office/drawing/2014/main" id="{750C59CD-6FBC-4A1F-9F69-851C3D8672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799D25-8EB7-41E2-A241-293241B83021}"/>
              </a:ext>
            </a:extLst>
          </p:cNvPr>
          <p:cNvGrpSpPr/>
          <p:nvPr/>
        </p:nvGrpSpPr>
        <p:grpSpPr>
          <a:xfrm>
            <a:off x="5492679" y="1146393"/>
            <a:ext cx="735241" cy="418511"/>
            <a:chOff x="8597394" y="2882013"/>
            <a:chExt cx="960944" cy="546984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80736BF1-E2C0-45C4-896B-EC9D1218DAD4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EC06138-98B6-4288-84A2-6F3D82F187AD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B47E1F5-0E0C-4F8A-B054-B44C62A1D0C4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A90AA4A1-5CAC-4BA0-9193-7605D5EF7267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9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FCC8C995-3B86-4E54-AF30-361773DA29F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56EB650B-3C59-41D7-B741-76A86509275C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4A76BF3-5E89-40B8-949E-826E95897400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998F3D-1D55-45E9-918F-86AEFBBCFC47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Fat Fox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6A45AC-D7DB-48CD-9E5D-A7BC3E0BC5C6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CCE87B5-CFD2-47DB-9A20-1C181E4F9811}"/>
              </a:ext>
            </a:extLst>
          </p:cNvPr>
          <p:cNvSpPr txBox="1"/>
          <p:nvPr/>
        </p:nvSpPr>
        <p:spPr>
          <a:xfrm>
            <a:off x="4127913" y="3019472"/>
            <a:ext cx="3540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Ninja, 27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667F696-F014-4560-BD00-F089458F0F2B}"/>
              </a:ext>
            </a:extLst>
          </p:cNvPr>
          <p:cNvSpPr txBox="1"/>
          <p:nvPr/>
        </p:nvSpPr>
        <p:spPr>
          <a:xfrm>
            <a:off x="4127913" y="3251078"/>
            <a:ext cx="354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Montserrat" panose="00000500000000000000" pitchFamily="2" charset="0"/>
              </a:rPr>
              <a:t>Frankfurt Am Main, Germany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6243094-A49C-4BFB-9057-BB5259F54FC3}"/>
              </a:ext>
            </a:extLst>
          </p:cNvPr>
          <p:cNvSpPr/>
          <p:nvPr/>
        </p:nvSpPr>
        <p:spPr>
          <a:xfrm>
            <a:off x="4483911" y="3600890"/>
            <a:ext cx="1294410" cy="129441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Montserrat" panose="00000500000000000000" pitchFamily="2" charset="0"/>
            </a:endParaRPr>
          </a:p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aming Account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F50A5B1A-86B7-420E-9064-48C23E80450F}"/>
              </a:ext>
            </a:extLst>
          </p:cNvPr>
          <p:cNvSpPr/>
          <p:nvPr/>
        </p:nvSpPr>
        <p:spPr>
          <a:xfrm>
            <a:off x="5946151" y="3600890"/>
            <a:ext cx="1294410" cy="129441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Montserrat" panose="00000500000000000000" pitchFamily="2" charset="0"/>
            </a:endParaRPr>
          </a:p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Discovery setting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FC15FABF-5E97-432B-A1E1-B56D4FB9A1D6}"/>
              </a:ext>
            </a:extLst>
          </p:cNvPr>
          <p:cNvSpPr/>
          <p:nvPr/>
        </p:nvSpPr>
        <p:spPr>
          <a:xfrm>
            <a:off x="4483911" y="5028914"/>
            <a:ext cx="1294410" cy="129441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Montserrat" panose="00000500000000000000" pitchFamily="2" charset="0"/>
            </a:endParaRPr>
          </a:p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Personal settings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17699BA0-3EAF-4FBE-BC60-70E8AD37533C}"/>
              </a:ext>
            </a:extLst>
          </p:cNvPr>
          <p:cNvSpPr/>
          <p:nvPr/>
        </p:nvSpPr>
        <p:spPr>
          <a:xfrm>
            <a:off x="5946151" y="5024477"/>
            <a:ext cx="1294410" cy="129441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Montserrat" panose="00000500000000000000" pitchFamily="2" charset="0"/>
            </a:endParaRPr>
          </a:p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eneral settings</a:t>
            </a:r>
          </a:p>
        </p:txBody>
      </p:sp>
      <p:sp>
        <p:nvSpPr>
          <p:cNvPr id="44" name="Freeform 817">
            <a:extLst>
              <a:ext uri="{FF2B5EF4-FFF2-40B4-BE49-F238E27FC236}">
                <a16:creationId xmlns:a16="http://schemas.microsoft.com/office/drawing/2014/main" id="{74B2B4C4-6984-4F04-B241-DD35CD27935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41068" y="5198649"/>
            <a:ext cx="304577" cy="308430"/>
          </a:xfrm>
          <a:custGeom>
            <a:avLst/>
            <a:gdLst>
              <a:gd name="T0" fmla="*/ 502 w 502"/>
              <a:gd name="T1" fmla="*/ 288 h 502"/>
              <a:gd name="T2" fmla="*/ 493 w 502"/>
              <a:gd name="T3" fmla="*/ 299 h 502"/>
              <a:gd name="T4" fmla="*/ 432 w 502"/>
              <a:gd name="T5" fmla="*/ 309 h 502"/>
              <a:gd name="T6" fmla="*/ 420 w 502"/>
              <a:gd name="T7" fmla="*/ 338 h 502"/>
              <a:gd name="T8" fmla="*/ 455 w 502"/>
              <a:gd name="T9" fmla="*/ 383 h 502"/>
              <a:gd name="T10" fmla="*/ 458 w 502"/>
              <a:gd name="T11" fmla="*/ 392 h 502"/>
              <a:gd name="T12" fmla="*/ 455 w 502"/>
              <a:gd name="T13" fmla="*/ 399 h 502"/>
              <a:gd name="T14" fmla="*/ 392 w 502"/>
              <a:gd name="T15" fmla="*/ 458 h 502"/>
              <a:gd name="T16" fmla="*/ 383 w 502"/>
              <a:gd name="T17" fmla="*/ 455 h 502"/>
              <a:gd name="T18" fmla="*/ 338 w 502"/>
              <a:gd name="T19" fmla="*/ 419 h 502"/>
              <a:gd name="T20" fmla="*/ 308 w 502"/>
              <a:gd name="T21" fmla="*/ 432 h 502"/>
              <a:gd name="T22" fmla="*/ 299 w 502"/>
              <a:gd name="T23" fmla="*/ 493 h 502"/>
              <a:gd name="T24" fmla="*/ 287 w 502"/>
              <a:gd name="T25" fmla="*/ 502 h 502"/>
              <a:gd name="T26" fmla="*/ 215 w 502"/>
              <a:gd name="T27" fmla="*/ 502 h 502"/>
              <a:gd name="T28" fmla="*/ 203 w 502"/>
              <a:gd name="T29" fmla="*/ 492 h 502"/>
              <a:gd name="T30" fmla="*/ 194 w 502"/>
              <a:gd name="T31" fmla="*/ 432 h 502"/>
              <a:gd name="T32" fmla="*/ 164 w 502"/>
              <a:gd name="T33" fmla="*/ 420 h 502"/>
              <a:gd name="T34" fmla="*/ 118 w 502"/>
              <a:gd name="T35" fmla="*/ 455 h 502"/>
              <a:gd name="T36" fmla="*/ 110 w 502"/>
              <a:gd name="T37" fmla="*/ 458 h 502"/>
              <a:gd name="T38" fmla="*/ 102 w 502"/>
              <a:gd name="T39" fmla="*/ 454 h 502"/>
              <a:gd name="T40" fmla="*/ 48 w 502"/>
              <a:gd name="T41" fmla="*/ 399 h 502"/>
              <a:gd name="T42" fmla="*/ 46 w 502"/>
              <a:gd name="T43" fmla="*/ 392 h 502"/>
              <a:gd name="T44" fmla="*/ 48 w 502"/>
              <a:gd name="T45" fmla="*/ 384 h 502"/>
              <a:gd name="T46" fmla="*/ 83 w 502"/>
              <a:gd name="T47" fmla="*/ 339 h 502"/>
              <a:gd name="T48" fmla="*/ 69 w 502"/>
              <a:gd name="T49" fmla="*/ 307 h 502"/>
              <a:gd name="T50" fmla="*/ 10 w 502"/>
              <a:gd name="T51" fmla="*/ 298 h 502"/>
              <a:gd name="T52" fmla="*/ 0 w 502"/>
              <a:gd name="T53" fmla="*/ 286 h 502"/>
              <a:gd name="T54" fmla="*/ 0 w 502"/>
              <a:gd name="T55" fmla="*/ 214 h 502"/>
              <a:gd name="T56" fmla="*/ 9 w 502"/>
              <a:gd name="T57" fmla="*/ 202 h 502"/>
              <a:gd name="T58" fmla="*/ 70 w 502"/>
              <a:gd name="T59" fmla="*/ 193 h 502"/>
              <a:gd name="T60" fmla="*/ 82 w 502"/>
              <a:gd name="T61" fmla="*/ 163 h 502"/>
              <a:gd name="T62" fmla="*/ 47 w 502"/>
              <a:gd name="T63" fmla="*/ 118 h 502"/>
              <a:gd name="T64" fmla="*/ 44 w 502"/>
              <a:gd name="T65" fmla="*/ 110 h 502"/>
              <a:gd name="T66" fmla="*/ 47 w 502"/>
              <a:gd name="T67" fmla="*/ 102 h 502"/>
              <a:gd name="T68" fmla="*/ 110 w 502"/>
              <a:gd name="T69" fmla="*/ 44 h 502"/>
              <a:gd name="T70" fmla="*/ 119 w 502"/>
              <a:gd name="T71" fmla="*/ 47 h 502"/>
              <a:gd name="T72" fmla="*/ 164 w 502"/>
              <a:gd name="T73" fmla="*/ 82 h 502"/>
              <a:gd name="T74" fmla="*/ 193 w 502"/>
              <a:gd name="T75" fmla="*/ 70 h 502"/>
              <a:gd name="T76" fmla="*/ 203 w 502"/>
              <a:gd name="T77" fmla="*/ 9 h 502"/>
              <a:gd name="T78" fmla="*/ 215 w 502"/>
              <a:gd name="T79" fmla="*/ 0 h 502"/>
              <a:gd name="T80" fmla="*/ 287 w 502"/>
              <a:gd name="T81" fmla="*/ 0 h 502"/>
              <a:gd name="T82" fmla="*/ 299 w 502"/>
              <a:gd name="T83" fmla="*/ 10 h 502"/>
              <a:gd name="T84" fmla="*/ 308 w 502"/>
              <a:gd name="T85" fmla="*/ 70 h 502"/>
              <a:gd name="T86" fmla="*/ 338 w 502"/>
              <a:gd name="T87" fmla="*/ 82 h 502"/>
              <a:gd name="T88" fmla="*/ 384 w 502"/>
              <a:gd name="T89" fmla="*/ 47 h 502"/>
              <a:gd name="T90" fmla="*/ 392 w 502"/>
              <a:gd name="T91" fmla="*/ 44 h 502"/>
              <a:gd name="T92" fmla="*/ 400 w 502"/>
              <a:gd name="T93" fmla="*/ 47 h 502"/>
              <a:gd name="T94" fmla="*/ 454 w 502"/>
              <a:gd name="T95" fmla="*/ 103 h 502"/>
              <a:gd name="T96" fmla="*/ 456 w 502"/>
              <a:gd name="T97" fmla="*/ 110 h 502"/>
              <a:gd name="T98" fmla="*/ 454 w 502"/>
              <a:gd name="T99" fmla="*/ 117 h 502"/>
              <a:gd name="T100" fmla="*/ 419 w 502"/>
              <a:gd name="T101" fmla="*/ 162 h 502"/>
              <a:gd name="T102" fmla="*/ 433 w 502"/>
              <a:gd name="T103" fmla="*/ 194 h 502"/>
              <a:gd name="T104" fmla="*/ 492 w 502"/>
              <a:gd name="T105" fmla="*/ 203 h 502"/>
              <a:gd name="T106" fmla="*/ 502 w 502"/>
              <a:gd name="T107" fmla="*/ 215 h 502"/>
              <a:gd name="T108" fmla="*/ 502 w 502"/>
              <a:gd name="T109" fmla="*/ 288 h 502"/>
              <a:gd name="T110" fmla="*/ 251 w 502"/>
              <a:gd name="T111" fmla="*/ 167 h 502"/>
              <a:gd name="T112" fmla="*/ 167 w 502"/>
              <a:gd name="T113" fmla="*/ 251 h 502"/>
              <a:gd name="T114" fmla="*/ 251 w 502"/>
              <a:gd name="T115" fmla="*/ 334 h 502"/>
              <a:gd name="T116" fmla="*/ 335 w 502"/>
              <a:gd name="T117" fmla="*/ 251 h 502"/>
              <a:gd name="T118" fmla="*/ 251 w 502"/>
              <a:gd name="T119" fmla="*/ 167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02" h="502">
                <a:moveTo>
                  <a:pt x="502" y="288"/>
                </a:moveTo>
                <a:cubicBezTo>
                  <a:pt x="502" y="293"/>
                  <a:pt x="498" y="298"/>
                  <a:pt x="493" y="299"/>
                </a:cubicBezTo>
                <a:cubicBezTo>
                  <a:pt x="432" y="309"/>
                  <a:pt x="432" y="309"/>
                  <a:pt x="432" y="309"/>
                </a:cubicBezTo>
                <a:cubicBezTo>
                  <a:pt x="429" y="319"/>
                  <a:pt x="425" y="329"/>
                  <a:pt x="420" y="338"/>
                </a:cubicBezTo>
                <a:cubicBezTo>
                  <a:pt x="431" y="354"/>
                  <a:pt x="442" y="369"/>
                  <a:pt x="455" y="383"/>
                </a:cubicBezTo>
                <a:cubicBezTo>
                  <a:pt x="456" y="386"/>
                  <a:pt x="458" y="389"/>
                  <a:pt x="458" y="392"/>
                </a:cubicBezTo>
                <a:cubicBezTo>
                  <a:pt x="458" y="395"/>
                  <a:pt x="457" y="397"/>
                  <a:pt x="455" y="399"/>
                </a:cubicBezTo>
                <a:cubicBezTo>
                  <a:pt x="447" y="410"/>
                  <a:pt x="403" y="458"/>
                  <a:pt x="392" y="458"/>
                </a:cubicBezTo>
                <a:cubicBezTo>
                  <a:pt x="389" y="458"/>
                  <a:pt x="386" y="456"/>
                  <a:pt x="383" y="455"/>
                </a:cubicBezTo>
                <a:cubicBezTo>
                  <a:pt x="338" y="419"/>
                  <a:pt x="338" y="419"/>
                  <a:pt x="338" y="419"/>
                </a:cubicBezTo>
                <a:cubicBezTo>
                  <a:pt x="329" y="424"/>
                  <a:pt x="319" y="429"/>
                  <a:pt x="308" y="432"/>
                </a:cubicBezTo>
                <a:cubicBezTo>
                  <a:pt x="306" y="452"/>
                  <a:pt x="304" y="473"/>
                  <a:pt x="299" y="493"/>
                </a:cubicBezTo>
                <a:cubicBezTo>
                  <a:pt x="298" y="498"/>
                  <a:pt x="293" y="502"/>
                  <a:pt x="287" y="502"/>
                </a:cubicBezTo>
                <a:cubicBezTo>
                  <a:pt x="215" y="502"/>
                  <a:pt x="215" y="502"/>
                  <a:pt x="215" y="502"/>
                </a:cubicBezTo>
                <a:cubicBezTo>
                  <a:pt x="209" y="502"/>
                  <a:pt x="204" y="497"/>
                  <a:pt x="203" y="492"/>
                </a:cubicBezTo>
                <a:cubicBezTo>
                  <a:pt x="194" y="432"/>
                  <a:pt x="194" y="432"/>
                  <a:pt x="194" y="432"/>
                </a:cubicBezTo>
                <a:cubicBezTo>
                  <a:pt x="184" y="429"/>
                  <a:pt x="174" y="425"/>
                  <a:pt x="164" y="420"/>
                </a:cubicBezTo>
                <a:cubicBezTo>
                  <a:pt x="118" y="455"/>
                  <a:pt x="118" y="455"/>
                  <a:pt x="118" y="455"/>
                </a:cubicBezTo>
                <a:cubicBezTo>
                  <a:pt x="116" y="457"/>
                  <a:pt x="113" y="458"/>
                  <a:pt x="110" y="458"/>
                </a:cubicBezTo>
                <a:cubicBezTo>
                  <a:pt x="107" y="458"/>
                  <a:pt x="104" y="456"/>
                  <a:pt x="102" y="454"/>
                </a:cubicBezTo>
                <a:cubicBezTo>
                  <a:pt x="85" y="438"/>
                  <a:pt x="62" y="418"/>
                  <a:pt x="48" y="399"/>
                </a:cubicBezTo>
                <a:cubicBezTo>
                  <a:pt x="46" y="397"/>
                  <a:pt x="46" y="394"/>
                  <a:pt x="46" y="392"/>
                </a:cubicBezTo>
                <a:cubicBezTo>
                  <a:pt x="46" y="389"/>
                  <a:pt x="47" y="386"/>
                  <a:pt x="48" y="384"/>
                </a:cubicBezTo>
                <a:cubicBezTo>
                  <a:pt x="59" y="369"/>
                  <a:pt x="72" y="355"/>
                  <a:pt x="83" y="339"/>
                </a:cubicBezTo>
                <a:cubicBezTo>
                  <a:pt x="77" y="329"/>
                  <a:pt x="73" y="318"/>
                  <a:pt x="69" y="307"/>
                </a:cubicBezTo>
                <a:cubicBezTo>
                  <a:pt x="10" y="298"/>
                  <a:pt x="10" y="298"/>
                  <a:pt x="10" y="298"/>
                </a:cubicBezTo>
                <a:cubicBezTo>
                  <a:pt x="4" y="297"/>
                  <a:pt x="0" y="292"/>
                  <a:pt x="0" y="286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09"/>
                  <a:pt x="4" y="203"/>
                  <a:pt x="9" y="202"/>
                </a:cubicBezTo>
                <a:cubicBezTo>
                  <a:pt x="70" y="193"/>
                  <a:pt x="70" y="193"/>
                  <a:pt x="70" y="193"/>
                </a:cubicBezTo>
                <a:cubicBezTo>
                  <a:pt x="73" y="182"/>
                  <a:pt x="77" y="173"/>
                  <a:pt x="82" y="163"/>
                </a:cubicBezTo>
                <a:cubicBezTo>
                  <a:pt x="71" y="147"/>
                  <a:pt x="59" y="132"/>
                  <a:pt x="47" y="118"/>
                </a:cubicBezTo>
                <a:cubicBezTo>
                  <a:pt x="45" y="115"/>
                  <a:pt x="44" y="113"/>
                  <a:pt x="44" y="110"/>
                </a:cubicBezTo>
                <a:cubicBezTo>
                  <a:pt x="44" y="107"/>
                  <a:pt x="45" y="105"/>
                  <a:pt x="47" y="102"/>
                </a:cubicBezTo>
                <a:cubicBezTo>
                  <a:pt x="55" y="92"/>
                  <a:pt x="99" y="44"/>
                  <a:pt x="110" y="44"/>
                </a:cubicBezTo>
                <a:cubicBezTo>
                  <a:pt x="113" y="44"/>
                  <a:pt x="116" y="45"/>
                  <a:pt x="119" y="47"/>
                </a:cubicBezTo>
                <a:cubicBezTo>
                  <a:pt x="164" y="82"/>
                  <a:pt x="164" y="82"/>
                  <a:pt x="164" y="82"/>
                </a:cubicBezTo>
                <a:cubicBezTo>
                  <a:pt x="173" y="77"/>
                  <a:pt x="183" y="73"/>
                  <a:pt x="193" y="70"/>
                </a:cubicBezTo>
                <a:cubicBezTo>
                  <a:pt x="196" y="50"/>
                  <a:pt x="198" y="29"/>
                  <a:pt x="203" y="9"/>
                </a:cubicBezTo>
                <a:cubicBezTo>
                  <a:pt x="204" y="4"/>
                  <a:pt x="209" y="0"/>
                  <a:pt x="215" y="0"/>
                </a:cubicBezTo>
                <a:cubicBezTo>
                  <a:pt x="287" y="0"/>
                  <a:pt x="287" y="0"/>
                  <a:pt x="287" y="0"/>
                </a:cubicBezTo>
                <a:cubicBezTo>
                  <a:pt x="293" y="0"/>
                  <a:pt x="298" y="4"/>
                  <a:pt x="299" y="10"/>
                </a:cubicBezTo>
                <a:cubicBezTo>
                  <a:pt x="308" y="70"/>
                  <a:pt x="308" y="70"/>
                  <a:pt x="308" y="70"/>
                </a:cubicBezTo>
                <a:cubicBezTo>
                  <a:pt x="318" y="73"/>
                  <a:pt x="328" y="77"/>
                  <a:pt x="338" y="82"/>
                </a:cubicBezTo>
                <a:cubicBezTo>
                  <a:pt x="384" y="47"/>
                  <a:pt x="384" y="47"/>
                  <a:pt x="384" y="47"/>
                </a:cubicBezTo>
                <a:cubicBezTo>
                  <a:pt x="386" y="45"/>
                  <a:pt x="389" y="44"/>
                  <a:pt x="392" y="44"/>
                </a:cubicBezTo>
                <a:cubicBezTo>
                  <a:pt x="395" y="44"/>
                  <a:pt x="398" y="45"/>
                  <a:pt x="400" y="47"/>
                </a:cubicBezTo>
                <a:cubicBezTo>
                  <a:pt x="417" y="63"/>
                  <a:pt x="440" y="83"/>
                  <a:pt x="454" y="103"/>
                </a:cubicBezTo>
                <a:cubicBezTo>
                  <a:pt x="456" y="105"/>
                  <a:pt x="456" y="107"/>
                  <a:pt x="456" y="110"/>
                </a:cubicBezTo>
                <a:cubicBezTo>
                  <a:pt x="456" y="113"/>
                  <a:pt x="455" y="115"/>
                  <a:pt x="454" y="117"/>
                </a:cubicBezTo>
                <a:cubicBezTo>
                  <a:pt x="442" y="132"/>
                  <a:pt x="430" y="147"/>
                  <a:pt x="419" y="162"/>
                </a:cubicBezTo>
                <a:cubicBezTo>
                  <a:pt x="425" y="173"/>
                  <a:pt x="429" y="183"/>
                  <a:pt x="433" y="194"/>
                </a:cubicBezTo>
                <a:cubicBezTo>
                  <a:pt x="492" y="203"/>
                  <a:pt x="492" y="203"/>
                  <a:pt x="492" y="203"/>
                </a:cubicBezTo>
                <a:cubicBezTo>
                  <a:pt x="498" y="204"/>
                  <a:pt x="502" y="210"/>
                  <a:pt x="502" y="215"/>
                </a:cubicBezTo>
                <a:lnTo>
                  <a:pt x="502" y="288"/>
                </a:lnTo>
                <a:close/>
                <a:moveTo>
                  <a:pt x="251" y="167"/>
                </a:moveTo>
                <a:cubicBezTo>
                  <a:pt x="205" y="167"/>
                  <a:pt x="167" y="205"/>
                  <a:pt x="167" y="251"/>
                </a:cubicBezTo>
                <a:cubicBezTo>
                  <a:pt x="167" y="297"/>
                  <a:pt x="205" y="334"/>
                  <a:pt x="251" y="334"/>
                </a:cubicBezTo>
                <a:cubicBezTo>
                  <a:pt x="297" y="334"/>
                  <a:pt x="335" y="297"/>
                  <a:pt x="335" y="251"/>
                </a:cubicBezTo>
                <a:cubicBezTo>
                  <a:pt x="335" y="205"/>
                  <a:pt x="297" y="167"/>
                  <a:pt x="251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4" name="Freeform 801">
            <a:extLst>
              <a:ext uri="{FF2B5EF4-FFF2-40B4-BE49-F238E27FC236}">
                <a16:creationId xmlns:a16="http://schemas.microsoft.com/office/drawing/2014/main" id="{44019926-04CD-4947-A469-16F2E625F09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66608" y="3850283"/>
            <a:ext cx="253498" cy="253498"/>
          </a:xfrm>
          <a:custGeom>
            <a:avLst/>
            <a:gdLst>
              <a:gd name="T0" fmla="*/ 502 w 544"/>
              <a:gd name="T1" fmla="*/ 544 h 544"/>
              <a:gd name="T2" fmla="*/ 472 w 544"/>
              <a:gd name="T3" fmla="*/ 531 h 544"/>
              <a:gd name="T4" fmla="*/ 360 w 544"/>
              <a:gd name="T5" fmla="*/ 419 h 544"/>
              <a:gd name="T6" fmla="*/ 230 w 544"/>
              <a:gd name="T7" fmla="*/ 460 h 544"/>
              <a:gd name="T8" fmla="*/ 0 w 544"/>
              <a:gd name="T9" fmla="*/ 230 h 544"/>
              <a:gd name="T10" fmla="*/ 230 w 544"/>
              <a:gd name="T11" fmla="*/ 0 h 544"/>
              <a:gd name="T12" fmla="*/ 460 w 544"/>
              <a:gd name="T13" fmla="*/ 230 h 544"/>
              <a:gd name="T14" fmla="*/ 420 w 544"/>
              <a:gd name="T15" fmla="*/ 360 h 544"/>
              <a:gd name="T16" fmla="*/ 532 w 544"/>
              <a:gd name="T17" fmla="*/ 472 h 544"/>
              <a:gd name="T18" fmla="*/ 544 w 544"/>
              <a:gd name="T19" fmla="*/ 502 h 544"/>
              <a:gd name="T20" fmla="*/ 502 w 544"/>
              <a:gd name="T21" fmla="*/ 544 h 544"/>
              <a:gd name="T22" fmla="*/ 230 w 544"/>
              <a:gd name="T23" fmla="*/ 83 h 544"/>
              <a:gd name="T24" fmla="*/ 84 w 544"/>
              <a:gd name="T25" fmla="*/ 230 h 544"/>
              <a:gd name="T26" fmla="*/ 230 w 544"/>
              <a:gd name="T27" fmla="*/ 376 h 544"/>
              <a:gd name="T28" fmla="*/ 376 w 544"/>
              <a:gd name="T29" fmla="*/ 230 h 544"/>
              <a:gd name="T30" fmla="*/ 230 w 544"/>
              <a:gd name="T31" fmla="*/ 83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44" h="544">
                <a:moveTo>
                  <a:pt x="502" y="544"/>
                </a:moveTo>
                <a:cubicBezTo>
                  <a:pt x="491" y="544"/>
                  <a:pt x="480" y="539"/>
                  <a:pt x="472" y="531"/>
                </a:cubicBezTo>
                <a:cubicBezTo>
                  <a:pt x="360" y="419"/>
                  <a:pt x="360" y="419"/>
                  <a:pt x="360" y="419"/>
                </a:cubicBezTo>
                <a:cubicBezTo>
                  <a:pt x="322" y="446"/>
                  <a:pt x="276" y="460"/>
                  <a:pt x="230" y="460"/>
                </a:cubicBezTo>
                <a:cubicBezTo>
                  <a:pt x="103" y="460"/>
                  <a:pt x="0" y="357"/>
                  <a:pt x="0" y="230"/>
                </a:cubicBezTo>
                <a:cubicBezTo>
                  <a:pt x="0" y="103"/>
                  <a:pt x="103" y="0"/>
                  <a:pt x="230" y="0"/>
                </a:cubicBezTo>
                <a:cubicBezTo>
                  <a:pt x="357" y="0"/>
                  <a:pt x="460" y="103"/>
                  <a:pt x="460" y="230"/>
                </a:cubicBezTo>
                <a:cubicBezTo>
                  <a:pt x="460" y="276"/>
                  <a:pt x="446" y="322"/>
                  <a:pt x="420" y="360"/>
                </a:cubicBezTo>
                <a:cubicBezTo>
                  <a:pt x="532" y="472"/>
                  <a:pt x="532" y="472"/>
                  <a:pt x="532" y="472"/>
                </a:cubicBezTo>
                <a:cubicBezTo>
                  <a:pt x="539" y="480"/>
                  <a:pt x="544" y="491"/>
                  <a:pt x="544" y="502"/>
                </a:cubicBezTo>
                <a:cubicBezTo>
                  <a:pt x="544" y="525"/>
                  <a:pt x="525" y="544"/>
                  <a:pt x="502" y="544"/>
                </a:cubicBezTo>
                <a:close/>
                <a:moveTo>
                  <a:pt x="230" y="83"/>
                </a:moveTo>
                <a:cubicBezTo>
                  <a:pt x="149" y="83"/>
                  <a:pt x="84" y="149"/>
                  <a:pt x="84" y="230"/>
                </a:cubicBezTo>
                <a:cubicBezTo>
                  <a:pt x="84" y="311"/>
                  <a:pt x="149" y="376"/>
                  <a:pt x="230" y="376"/>
                </a:cubicBezTo>
                <a:cubicBezTo>
                  <a:pt x="311" y="376"/>
                  <a:pt x="376" y="311"/>
                  <a:pt x="376" y="230"/>
                </a:cubicBezTo>
                <a:cubicBezTo>
                  <a:pt x="376" y="149"/>
                  <a:pt x="311" y="83"/>
                  <a:pt x="230" y="8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56" name="Picture 8" descr="Fun games joystick icon - Locations Redesign">
            <a:extLst>
              <a:ext uri="{FF2B5EF4-FFF2-40B4-BE49-F238E27FC236}">
                <a16:creationId xmlns:a16="http://schemas.microsoft.com/office/drawing/2014/main" id="{737E1524-04E5-413E-A048-F67991A279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824" y="3787740"/>
            <a:ext cx="378584" cy="378584"/>
          </a:xfrm>
          <a:prstGeom prst="rect">
            <a:avLst/>
          </a:prstGeom>
          <a:noFill/>
        </p:spPr>
      </p:pic>
      <p:sp>
        <p:nvSpPr>
          <p:cNvPr id="59" name="Freeform 859">
            <a:extLst>
              <a:ext uri="{FF2B5EF4-FFF2-40B4-BE49-F238E27FC236}">
                <a16:creationId xmlns:a16="http://schemas.microsoft.com/office/drawing/2014/main" id="{3E6599CF-1019-4510-8C59-0FD73CA2F06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006426" y="5229753"/>
            <a:ext cx="249380" cy="246222"/>
          </a:xfrm>
          <a:custGeom>
            <a:avLst/>
            <a:gdLst>
              <a:gd name="T0" fmla="*/ 408 w 495"/>
              <a:gd name="T1" fmla="*/ 223 h 495"/>
              <a:gd name="T2" fmla="*/ 136 w 495"/>
              <a:gd name="T3" fmla="*/ 495 h 495"/>
              <a:gd name="T4" fmla="*/ 0 w 495"/>
              <a:gd name="T5" fmla="*/ 495 h 495"/>
              <a:gd name="T6" fmla="*/ 0 w 495"/>
              <a:gd name="T7" fmla="*/ 359 h 495"/>
              <a:gd name="T8" fmla="*/ 272 w 495"/>
              <a:gd name="T9" fmla="*/ 87 h 495"/>
              <a:gd name="T10" fmla="*/ 408 w 495"/>
              <a:gd name="T11" fmla="*/ 223 h 495"/>
              <a:gd name="T12" fmla="*/ 149 w 495"/>
              <a:gd name="T13" fmla="*/ 423 h 495"/>
              <a:gd name="T14" fmla="*/ 72 w 495"/>
              <a:gd name="T15" fmla="*/ 347 h 495"/>
              <a:gd name="T16" fmla="*/ 42 w 495"/>
              <a:gd name="T17" fmla="*/ 376 h 495"/>
              <a:gd name="T18" fmla="*/ 42 w 495"/>
              <a:gd name="T19" fmla="*/ 411 h 495"/>
              <a:gd name="T20" fmla="*/ 84 w 495"/>
              <a:gd name="T21" fmla="*/ 411 h 495"/>
              <a:gd name="T22" fmla="*/ 84 w 495"/>
              <a:gd name="T23" fmla="*/ 453 h 495"/>
              <a:gd name="T24" fmla="*/ 119 w 495"/>
              <a:gd name="T25" fmla="*/ 453 h 495"/>
              <a:gd name="T26" fmla="*/ 149 w 495"/>
              <a:gd name="T27" fmla="*/ 423 h 495"/>
              <a:gd name="T28" fmla="*/ 282 w 495"/>
              <a:gd name="T29" fmla="*/ 143 h 495"/>
              <a:gd name="T30" fmla="*/ 277 w 495"/>
              <a:gd name="T31" fmla="*/ 145 h 495"/>
              <a:gd name="T32" fmla="*/ 100 w 495"/>
              <a:gd name="T33" fmla="*/ 322 h 495"/>
              <a:gd name="T34" fmla="*/ 98 w 495"/>
              <a:gd name="T35" fmla="*/ 328 h 495"/>
              <a:gd name="T36" fmla="*/ 105 w 495"/>
              <a:gd name="T37" fmla="*/ 335 h 495"/>
              <a:gd name="T38" fmla="*/ 110 w 495"/>
              <a:gd name="T39" fmla="*/ 333 h 495"/>
              <a:gd name="T40" fmla="*/ 287 w 495"/>
              <a:gd name="T41" fmla="*/ 155 h 495"/>
              <a:gd name="T42" fmla="*/ 290 w 495"/>
              <a:gd name="T43" fmla="*/ 150 h 495"/>
              <a:gd name="T44" fmla="*/ 282 w 495"/>
              <a:gd name="T45" fmla="*/ 143 h 495"/>
              <a:gd name="T46" fmla="*/ 483 w 495"/>
              <a:gd name="T47" fmla="*/ 148 h 495"/>
              <a:gd name="T48" fmla="*/ 429 w 495"/>
              <a:gd name="T49" fmla="*/ 202 h 495"/>
              <a:gd name="T50" fmla="*/ 293 w 495"/>
              <a:gd name="T51" fmla="*/ 66 h 495"/>
              <a:gd name="T52" fmla="*/ 347 w 495"/>
              <a:gd name="T53" fmla="*/ 12 h 495"/>
              <a:gd name="T54" fmla="*/ 377 w 495"/>
              <a:gd name="T55" fmla="*/ 0 h 495"/>
              <a:gd name="T56" fmla="*/ 406 w 495"/>
              <a:gd name="T57" fmla="*/ 12 h 495"/>
              <a:gd name="T58" fmla="*/ 483 w 495"/>
              <a:gd name="T59" fmla="*/ 89 h 495"/>
              <a:gd name="T60" fmla="*/ 495 w 495"/>
              <a:gd name="T61" fmla="*/ 119 h 495"/>
              <a:gd name="T62" fmla="*/ 483 w 495"/>
              <a:gd name="T63" fmla="*/ 148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95" h="495">
                <a:moveTo>
                  <a:pt x="408" y="223"/>
                </a:moveTo>
                <a:cubicBezTo>
                  <a:pt x="136" y="495"/>
                  <a:pt x="136" y="495"/>
                  <a:pt x="136" y="495"/>
                </a:cubicBezTo>
                <a:cubicBezTo>
                  <a:pt x="0" y="495"/>
                  <a:pt x="0" y="495"/>
                  <a:pt x="0" y="495"/>
                </a:cubicBezTo>
                <a:cubicBezTo>
                  <a:pt x="0" y="359"/>
                  <a:pt x="0" y="359"/>
                  <a:pt x="0" y="359"/>
                </a:cubicBezTo>
                <a:cubicBezTo>
                  <a:pt x="272" y="87"/>
                  <a:pt x="272" y="87"/>
                  <a:pt x="272" y="87"/>
                </a:cubicBezTo>
                <a:lnTo>
                  <a:pt x="408" y="223"/>
                </a:lnTo>
                <a:close/>
                <a:moveTo>
                  <a:pt x="149" y="423"/>
                </a:moveTo>
                <a:cubicBezTo>
                  <a:pt x="72" y="347"/>
                  <a:pt x="72" y="347"/>
                  <a:pt x="72" y="347"/>
                </a:cubicBezTo>
                <a:cubicBezTo>
                  <a:pt x="42" y="376"/>
                  <a:pt x="42" y="376"/>
                  <a:pt x="42" y="376"/>
                </a:cubicBezTo>
                <a:cubicBezTo>
                  <a:pt x="42" y="411"/>
                  <a:pt x="42" y="411"/>
                  <a:pt x="42" y="411"/>
                </a:cubicBezTo>
                <a:cubicBezTo>
                  <a:pt x="84" y="411"/>
                  <a:pt x="84" y="411"/>
                  <a:pt x="84" y="411"/>
                </a:cubicBezTo>
                <a:cubicBezTo>
                  <a:pt x="84" y="453"/>
                  <a:pt x="84" y="453"/>
                  <a:pt x="84" y="453"/>
                </a:cubicBezTo>
                <a:cubicBezTo>
                  <a:pt x="119" y="453"/>
                  <a:pt x="119" y="453"/>
                  <a:pt x="119" y="453"/>
                </a:cubicBezTo>
                <a:lnTo>
                  <a:pt x="149" y="423"/>
                </a:lnTo>
                <a:close/>
                <a:moveTo>
                  <a:pt x="282" y="143"/>
                </a:moveTo>
                <a:cubicBezTo>
                  <a:pt x="281" y="143"/>
                  <a:pt x="279" y="143"/>
                  <a:pt x="277" y="145"/>
                </a:cubicBezTo>
                <a:cubicBezTo>
                  <a:pt x="100" y="322"/>
                  <a:pt x="100" y="322"/>
                  <a:pt x="100" y="322"/>
                </a:cubicBezTo>
                <a:cubicBezTo>
                  <a:pt x="98" y="324"/>
                  <a:pt x="98" y="326"/>
                  <a:pt x="98" y="328"/>
                </a:cubicBezTo>
                <a:cubicBezTo>
                  <a:pt x="98" y="332"/>
                  <a:pt x="100" y="335"/>
                  <a:pt x="105" y="335"/>
                </a:cubicBezTo>
                <a:cubicBezTo>
                  <a:pt x="107" y="335"/>
                  <a:pt x="109" y="334"/>
                  <a:pt x="110" y="333"/>
                </a:cubicBezTo>
                <a:cubicBezTo>
                  <a:pt x="287" y="155"/>
                  <a:pt x="287" y="155"/>
                  <a:pt x="287" y="155"/>
                </a:cubicBezTo>
                <a:cubicBezTo>
                  <a:pt x="289" y="154"/>
                  <a:pt x="290" y="152"/>
                  <a:pt x="290" y="150"/>
                </a:cubicBezTo>
                <a:cubicBezTo>
                  <a:pt x="290" y="146"/>
                  <a:pt x="287" y="143"/>
                  <a:pt x="282" y="143"/>
                </a:cubicBezTo>
                <a:close/>
                <a:moveTo>
                  <a:pt x="483" y="148"/>
                </a:moveTo>
                <a:cubicBezTo>
                  <a:pt x="429" y="202"/>
                  <a:pt x="429" y="202"/>
                  <a:pt x="429" y="202"/>
                </a:cubicBezTo>
                <a:cubicBezTo>
                  <a:pt x="293" y="66"/>
                  <a:pt x="293" y="66"/>
                  <a:pt x="293" y="66"/>
                </a:cubicBezTo>
                <a:cubicBezTo>
                  <a:pt x="347" y="12"/>
                  <a:pt x="347" y="12"/>
                  <a:pt x="347" y="12"/>
                </a:cubicBezTo>
                <a:cubicBezTo>
                  <a:pt x="355" y="4"/>
                  <a:pt x="365" y="0"/>
                  <a:pt x="377" y="0"/>
                </a:cubicBezTo>
                <a:cubicBezTo>
                  <a:pt x="388" y="0"/>
                  <a:pt x="398" y="4"/>
                  <a:pt x="406" y="12"/>
                </a:cubicBezTo>
                <a:cubicBezTo>
                  <a:pt x="483" y="89"/>
                  <a:pt x="483" y="89"/>
                  <a:pt x="483" y="89"/>
                </a:cubicBezTo>
                <a:cubicBezTo>
                  <a:pt x="491" y="97"/>
                  <a:pt x="495" y="107"/>
                  <a:pt x="495" y="119"/>
                </a:cubicBezTo>
                <a:cubicBezTo>
                  <a:pt x="495" y="130"/>
                  <a:pt x="491" y="140"/>
                  <a:pt x="483" y="148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FA27E0-A44E-428B-B9E9-655F99C07921}"/>
              </a:ext>
            </a:extLst>
          </p:cNvPr>
          <p:cNvGrpSpPr/>
          <p:nvPr/>
        </p:nvGrpSpPr>
        <p:grpSpPr>
          <a:xfrm>
            <a:off x="6150683" y="2703547"/>
            <a:ext cx="315925" cy="315925"/>
            <a:chOff x="9507091" y="2579709"/>
            <a:chExt cx="241926" cy="241926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0DB2925-8D84-4614-BB29-FED2D88C4265}"/>
                </a:ext>
              </a:extLst>
            </p:cNvPr>
            <p:cNvSpPr/>
            <p:nvPr/>
          </p:nvSpPr>
          <p:spPr>
            <a:xfrm>
              <a:off x="9507091" y="2579709"/>
              <a:ext cx="241926" cy="2419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879">
              <a:extLst>
                <a:ext uri="{FF2B5EF4-FFF2-40B4-BE49-F238E27FC236}">
                  <a16:creationId xmlns:a16="http://schemas.microsoft.com/office/drawing/2014/main" id="{BC1FBB47-5210-4CA8-92E4-EBE9BB32BA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07091" y="2579709"/>
              <a:ext cx="241926" cy="241926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397 w 502"/>
                <a:gd name="T11" fmla="*/ 230 h 502"/>
                <a:gd name="T12" fmla="*/ 376 w 502"/>
                <a:gd name="T13" fmla="*/ 209 h 502"/>
                <a:gd name="T14" fmla="*/ 293 w 502"/>
                <a:gd name="T15" fmla="*/ 209 h 502"/>
                <a:gd name="T16" fmla="*/ 293 w 502"/>
                <a:gd name="T17" fmla="*/ 125 h 502"/>
                <a:gd name="T18" fmla="*/ 272 w 502"/>
                <a:gd name="T19" fmla="*/ 104 h 502"/>
                <a:gd name="T20" fmla="*/ 230 w 502"/>
                <a:gd name="T21" fmla="*/ 104 h 502"/>
                <a:gd name="T22" fmla="*/ 209 w 502"/>
                <a:gd name="T23" fmla="*/ 125 h 502"/>
                <a:gd name="T24" fmla="*/ 209 w 502"/>
                <a:gd name="T25" fmla="*/ 209 h 502"/>
                <a:gd name="T26" fmla="*/ 125 w 502"/>
                <a:gd name="T27" fmla="*/ 209 h 502"/>
                <a:gd name="T28" fmla="*/ 104 w 502"/>
                <a:gd name="T29" fmla="*/ 230 h 502"/>
                <a:gd name="T30" fmla="*/ 104 w 502"/>
                <a:gd name="T31" fmla="*/ 272 h 502"/>
                <a:gd name="T32" fmla="*/ 125 w 502"/>
                <a:gd name="T33" fmla="*/ 293 h 502"/>
                <a:gd name="T34" fmla="*/ 209 w 502"/>
                <a:gd name="T35" fmla="*/ 293 h 502"/>
                <a:gd name="T36" fmla="*/ 209 w 502"/>
                <a:gd name="T37" fmla="*/ 376 h 502"/>
                <a:gd name="T38" fmla="*/ 230 w 502"/>
                <a:gd name="T39" fmla="*/ 397 h 502"/>
                <a:gd name="T40" fmla="*/ 272 w 502"/>
                <a:gd name="T41" fmla="*/ 397 h 502"/>
                <a:gd name="T42" fmla="*/ 293 w 502"/>
                <a:gd name="T43" fmla="*/ 376 h 502"/>
                <a:gd name="T44" fmla="*/ 293 w 502"/>
                <a:gd name="T45" fmla="*/ 293 h 502"/>
                <a:gd name="T46" fmla="*/ 376 w 502"/>
                <a:gd name="T47" fmla="*/ 293 h 502"/>
                <a:gd name="T48" fmla="*/ 397 w 502"/>
                <a:gd name="T49" fmla="*/ 272 h 502"/>
                <a:gd name="T50" fmla="*/ 397 w 502"/>
                <a:gd name="T51" fmla="*/ 230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2" y="502"/>
                    <a:pt x="0" y="389"/>
                    <a:pt x="0" y="251"/>
                  </a:cubicBezTo>
                  <a:cubicBezTo>
                    <a:pt x="0" y="112"/>
                    <a:pt x="112" y="0"/>
                    <a:pt x="251" y="0"/>
                  </a:cubicBezTo>
                  <a:cubicBezTo>
                    <a:pt x="389" y="0"/>
                    <a:pt x="502" y="112"/>
                    <a:pt x="502" y="251"/>
                  </a:cubicBezTo>
                  <a:cubicBezTo>
                    <a:pt x="502" y="389"/>
                    <a:pt x="389" y="502"/>
                    <a:pt x="251" y="502"/>
                  </a:cubicBezTo>
                  <a:close/>
                  <a:moveTo>
                    <a:pt x="397" y="230"/>
                  </a:moveTo>
                  <a:cubicBezTo>
                    <a:pt x="397" y="218"/>
                    <a:pt x="388" y="209"/>
                    <a:pt x="376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125"/>
                    <a:pt x="293" y="125"/>
                    <a:pt x="293" y="125"/>
                  </a:cubicBezTo>
                  <a:cubicBezTo>
                    <a:pt x="293" y="114"/>
                    <a:pt x="283" y="104"/>
                    <a:pt x="272" y="104"/>
                  </a:cubicBezTo>
                  <a:cubicBezTo>
                    <a:pt x="230" y="104"/>
                    <a:pt x="230" y="104"/>
                    <a:pt x="230" y="104"/>
                  </a:cubicBezTo>
                  <a:cubicBezTo>
                    <a:pt x="218" y="104"/>
                    <a:pt x="209" y="114"/>
                    <a:pt x="209" y="125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125" y="209"/>
                    <a:pt x="125" y="209"/>
                    <a:pt x="125" y="209"/>
                  </a:cubicBezTo>
                  <a:cubicBezTo>
                    <a:pt x="114" y="209"/>
                    <a:pt x="104" y="218"/>
                    <a:pt x="104" y="230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4" y="283"/>
                    <a:pt x="114" y="293"/>
                    <a:pt x="125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09" y="376"/>
                    <a:pt x="209" y="376"/>
                    <a:pt x="209" y="376"/>
                  </a:cubicBezTo>
                  <a:cubicBezTo>
                    <a:pt x="209" y="388"/>
                    <a:pt x="218" y="397"/>
                    <a:pt x="230" y="397"/>
                  </a:cubicBezTo>
                  <a:cubicBezTo>
                    <a:pt x="272" y="397"/>
                    <a:pt x="272" y="397"/>
                    <a:pt x="272" y="397"/>
                  </a:cubicBezTo>
                  <a:cubicBezTo>
                    <a:pt x="283" y="397"/>
                    <a:pt x="293" y="388"/>
                    <a:pt x="293" y="376"/>
                  </a:cubicBezTo>
                  <a:cubicBezTo>
                    <a:pt x="293" y="293"/>
                    <a:pt x="293" y="293"/>
                    <a:pt x="293" y="293"/>
                  </a:cubicBezTo>
                  <a:cubicBezTo>
                    <a:pt x="376" y="293"/>
                    <a:pt x="376" y="293"/>
                    <a:pt x="376" y="293"/>
                  </a:cubicBezTo>
                  <a:cubicBezTo>
                    <a:pt x="388" y="293"/>
                    <a:pt x="397" y="283"/>
                    <a:pt x="397" y="272"/>
                  </a:cubicBezTo>
                  <a:lnTo>
                    <a:pt x="397" y="2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98542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32B5C39-E35A-4580-93B7-3734010ACE83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6: Manage my profile</a:t>
            </a:r>
          </a:p>
        </p:txBody>
      </p:sp>
      <p:pic>
        <p:nvPicPr>
          <p:cNvPr id="6" name="Picture 4" descr="Day in the Life: Fortnite Legend Tyler &quot;Ninja&quot; Blevins">
            <a:extLst>
              <a:ext uri="{FF2B5EF4-FFF2-40B4-BE49-F238E27FC236}">
                <a16:creationId xmlns:a16="http://schemas.microsoft.com/office/drawing/2014/main" id="{9CF13995-A275-4603-A5F1-1899F464A2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6" t="8461" r="40689" b="46508"/>
          <a:stretch/>
        </p:blipFill>
        <p:spPr bwMode="auto">
          <a:xfrm>
            <a:off x="5400862" y="1806722"/>
            <a:ext cx="972686" cy="1092622"/>
          </a:xfrm>
          <a:prstGeom prst="ellipse">
            <a:avLst/>
          </a:prstGeom>
          <a:ln w="635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F4D02A-01BB-4791-BA36-DD37CA8607D8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06">
            <a:extLst>
              <a:ext uri="{FF2B5EF4-FFF2-40B4-BE49-F238E27FC236}">
                <a16:creationId xmlns:a16="http://schemas.microsoft.com/office/drawing/2014/main" id="{135568C3-548B-4763-8C89-CC540205E1C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1380">
            <a:extLst>
              <a:ext uri="{FF2B5EF4-FFF2-40B4-BE49-F238E27FC236}">
                <a16:creationId xmlns:a16="http://schemas.microsoft.com/office/drawing/2014/main" id="{750C59CD-6FBC-4A1F-9F69-851C3D86723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799D25-8EB7-41E2-A241-293241B83021}"/>
              </a:ext>
            </a:extLst>
          </p:cNvPr>
          <p:cNvGrpSpPr/>
          <p:nvPr/>
        </p:nvGrpSpPr>
        <p:grpSpPr>
          <a:xfrm>
            <a:off x="5255266" y="1146391"/>
            <a:ext cx="1210069" cy="418511"/>
            <a:chOff x="8597394" y="2882015"/>
            <a:chExt cx="1581535" cy="546985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C5A01C6-115F-413D-99F8-D00887490E34}"/>
                </a:ext>
              </a:extLst>
            </p:cNvPr>
            <p:cNvGrpSpPr/>
            <p:nvPr/>
          </p:nvGrpSpPr>
          <p:grpSpPr>
            <a:xfrm>
              <a:off x="9217985" y="2966761"/>
              <a:ext cx="960944" cy="459515"/>
              <a:chOff x="9217985" y="2966761"/>
              <a:chExt cx="960944" cy="459515"/>
            </a:xfrm>
          </p:grpSpPr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8293297D-B124-42FA-8413-B4A1DCA7A10E}"/>
                  </a:ext>
                </a:extLst>
              </p:cNvPr>
              <p:cNvSpPr/>
              <p:nvPr/>
            </p:nvSpPr>
            <p:spPr>
              <a:xfrm>
                <a:off x="9217985" y="2966761"/>
                <a:ext cx="960944" cy="459515"/>
              </a:xfrm>
              <a:prstGeom prst="roundRect">
                <a:avLst>
                  <a:gd name="adj" fmla="val 86146"/>
                </a:avLst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967">
                <a:extLst>
                  <a:ext uri="{FF2B5EF4-FFF2-40B4-BE49-F238E27FC236}">
                    <a16:creationId xmlns:a16="http://schemas.microsoft.com/office/drawing/2014/main" id="{D9730F9D-1EAC-4705-8F84-E803FDF5E1E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0719" y="3010764"/>
                <a:ext cx="395475" cy="371507"/>
              </a:xfrm>
              <a:custGeom>
                <a:avLst/>
                <a:gdLst>
                  <a:gd name="T0" fmla="*/ 108 w 629"/>
                  <a:gd name="T1" fmla="*/ 334 h 585"/>
                  <a:gd name="T2" fmla="*/ 64 w 629"/>
                  <a:gd name="T3" fmla="*/ 334 h 585"/>
                  <a:gd name="T4" fmla="*/ 1 w 629"/>
                  <a:gd name="T5" fmla="*/ 282 h 585"/>
                  <a:gd name="T6" fmla="*/ 41 w 629"/>
                  <a:gd name="T7" fmla="*/ 167 h 585"/>
                  <a:gd name="T8" fmla="*/ 126 w 629"/>
                  <a:gd name="T9" fmla="*/ 195 h 585"/>
                  <a:gd name="T10" fmla="*/ 170 w 629"/>
                  <a:gd name="T11" fmla="*/ 187 h 585"/>
                  <a:gd name="T12" fmla="*/ 168 w 629"/>
                  <a:gd name="T13" fmla="*/ 209 h 585"/>
                  <a:gd name="T14" fmla="*/ 194 w 629"/>
                  <a:gd name="T15" fmla="*/ 293 h 585"/>
                  <a:gd name="T16" fmla="*/ 108 w 629"/>
                  <a:gd name="T17" fmla="*/ 334 h 585"/>
                  <a:gd name="T18" fmla="*/ 126 w 629"/>
                  <a:gd name="T19" fmla="*/ 167 h 585"/>
                  <a:gd name="T20" fmla="*/ 43 w 629"/>
                  <a:gd name="T21" fmla="*/ 83 h 585"/>
                  <a:gd name="T22" fmla="*/ 126 w 629"/>
                  <a:gd name="T23" fmla="*/ 0 h 585"/>
                  <a:gd name="T24" fmla="*/ 210 w 629"/>
                  <a:gd name="T25" fmla="*/ 83 h 585"/>
                  <a:gd name="T26" fmla="*/ 126 w 629"/>
                  <a:gd name="T27" fmla="*/ 167 h 585"/>
                  <a:gd name="T28" fmla="*/ 457 w 629"/>
                  <a:gd name="T29" fmla="*/ 585 h 585"/>
                  <a:gd name="T30" fmla="*/ 172 w 629"/>
                  <a:gd name="T31" fmla="*/ 585 h 585"/>
                  <a:gd name="T32" fmla="*/ 84 w 629"/>
                  <a:gd name="T33" fmla="*/ 501 h 585"/>
                  <a:gd name="T34" fmla="*/ 197 w 629"/>
                  <a:gd name="T35" fmla="*/ 313 h 585"/>
                  <a:gd name="T36" fmla="*/ 314 w 629"/>
                  <a:gd name="T37" fmla="*/ 359 h 585"/>
                  <a:gd name="T38" fmla="*/ 431 w 629"/>
                  <a:gd name="T39" fmla="*/ 313 h 585"/>
                  <a:gd name="T40" fmla="*/ 544 w 629"/>
                  <a:gd name="T41" fmla="*/ 501 h 585"/>
                  <a:gd name="T42" fmla="*/ 457 w 629"/>
                  <a:gd name="T43" fmla="*/ 585 h 585"/>
                  <a:gd name="T44" fmla="*/ 314 w 629"/>
                  <a:gd name="T45" fmla="*/ 334 h 585"/>
                  <a:gd name="T46" fmla="*/ 189 w 629"/>
                  <a:gd name="T47" fmla="*/ 209 h 585"/>
                  <a:gd name="T48" fmla="*/ 314 w 629"/>
                  <a:gd name="T49" fmla="*/ 83 h 585"/>
                  <a:gd name="T50" fmla="*/ 440 w 629"/>
                  <a:gd name="T51" fmla="*/ 209 h 585"/>
                  <a:gd name="T52" fmla="*/ 314 w 629"/>
                  <a:gd name="T53" fmla="*/ 334 h 585"/>
                  <a:gd name="T54" fmla="*/ 503 w 629"/>
                  <a:gd name="T55" fmla="*/ 167 h 585"/>
                  <a:gd name="T56" fmla="*/ 419 w 629"/>
                  <a:gd name="T57" fmla="*/ 83 h 585"/>
                  <a:gd name="T58" fmla="*/ 503 w 629"/>
                  <a:gd name="T59" fmla="*/ 0 h 585"/>
                  <a:gd name="T60" fmla="*/ 586 w 629"/>
                  <a:gd name="T61" fmla="*/ 83 h 585"/>
                  <a:gd name="T62" fmla="*/ 503 w 629"/>
                  <a:gd name="T63" fmla="*/ 167 h 585"/>
                  <a:gd name="T64" fmla="*/ 565 w 629"/>
                  <a:gd name="T65" fmla="*/ 334 h 585"/>
                  <a:gd name="T66" fmla="*/ 521 w 629"/>
                  <a:gd name="T67" fmla="*/ 334 h 585"/>
                  <a:gd name="T68" fmla="*/ 434 w 629"/>
                  <a:gd name="T69" fmla="*/ 293 h 585"/>
                  <a:gd name="T70" fmla="*/ 461 w 629"/>
                  <a:gd name="T71" fmla="*/ 209 h 585"/>
                  <a:gd name="T72" fmla="*/ 459 w 629"/>
                  <a:gd name="T73" fmla="*/ 187 h 585"/>
                  <a:gd name="T74" fmla="*/ 503 w 629"/>
                  <a:gd name="T75" fmla="*/ 195 h 585"/>
                  <a:gd name="T76" fmla="*/ 588 w 629"/>
                  <a:gd name="T77" fmla="*/ 167 h 585"/>
                  <a:gd name="T78" fmla="*/ 628 w 629"/>
                  <a:gd name="T79" fmla="*/ 282 h 585"/>
                  <a:gd name="T80" fmla="*/ 565 w 629"/>
                  <a:gd name="T81" fmla="*/ 334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9" h="585">
                    <a:moveTo>
                      <a:pt x="108" y="334"/>
                    </a:moveTo>
                    <a:cubicBezTo>
                      <a:pt x="64" y="334"/>
                      <a:pt x="64" y="334"/>
                      <a:pt x="64" y="334"/>
                    </a:cubicBezTo>
                    <a:cubicBezTo>
                      <a:pt x="31" y="334"/>
                      <a:pt x="1" y="319"/>
                      <a:pt x="1" y="282"/>
                    </a:cubicBezTo>
                    <a:cubicBezTo>
                      <a:pt x="1" y="256"/>
                      <a:pt x="0" y="167"/>
                      <a:pt x="41" y="167"/>
                    </a:cubicBezTo>
                    <a:cubicBezTo>
                      <a:pt x="48" y="167"/>
                      <a:pt x="82" y="195"/>
                      <a:pt x="126" y="195"/>
                    </a:cubicBezTo>
                    <a:cubicBezTo>
                      <a:pt x="141" y="195"/>
                      <a:pt x="156" y="192"/>
                      <a:pt x="170" y="187"/>
                    </a:cubicBezTo>
                    <a:cubicBezTo>
                      <a:pt x="169" y="195"/>
                      <a:pt x="168" y="202"/>
                      <a:pt x="168" y="209"/>
                    </a:cubicBezTo>
                    <a:cubicBezTo>
                      <a:pt x="168" y="239"/>
                      <a:pt x="177" y="268"/>
                      <a:pt x="194" y="293"/>
                    </a:cubicBezTo>
                    <a:cubicBezTo>
                      <a:pt x="160" y="294"/>
                      <a:pt x="130" y="308"/>
                      <a:pt x="108" y="334"/>
                    </a:cubicBezTo>
                    <a:close/>
                    <a:moveTo>
                      <a:pt x="126" y="167"/>
                    </a:moveTo>
                    <a:cubicBezTo>
                      <a:pt x="80" y="167"/>
                      <a:pt x="43" y="129"/>
                      <a:pt x="43" y="83"/>
                    </a:cubicBezTo>
                    <a:cubicBezTo>
                      <a:pt x="43" y="37"/>
                      <a:pt x="80" y="0"/>
                      <a:pt x="126" y="0"/>
                    </a:cubicBezTo>
                    <a:cubicBezTo>
                      <a:pt x="172" y="0"/>
                      <a:pt x="210" y="37"/>
                      <a:pt x="210" y="83"/>
                    </a:cubicBezTo>
                    <a:cubicBezTo>
                      <a:pt x="210" y="129"/>
                      <a:pt x="172" y="167"/>
                      <a:pt x="126" y="167"/>
                    </a:cubicBezTo>
                    <a:close/>
                    <a:moveTo>
                      <a:pt x="457" y="585"/>
                    </a:moveTo>
                    <a:cubicBezTo>
                      <a:pt x="172" y="585"/>
                      <a:pt x="172" y="585"/>
                      <a:pt x="172" y="585"/>
                    </a:cubicBezTo>
                    <a:cubicBezTo>
                      <a:pt x="119" y="585"/>
                      <a:pt x="84" y="554"/>
                      <a:pt x="84" y="501"/>
                    </a:cubicBezTo>
                    <a:cubicBezTo>
                      <a:pt x="84" y="427"/>
                      <a:pt x="102" y="313"/>
                      <a:pt x="197" y="313"/>
                    </a:cubicBezTo>
                    <a:cubicBezTo>
                      <a:pt x="208" y="313"/>
                      <a:pt x="249" y="359"/>
                      <a:pt x="314" y="359"/>
                    </a:cubicBezTo>
                    <a:cubicBezTo>
                      <a:pt x="380" y="359"/>
                      <a:pt x="420" y="313"/>
                      <a:pt x="431" y="313"/>
                    </a:cubicBezTo>
                    <a:cubicBezTo>
                      <a:pt x="527" y="313"/>
                      <a:pt x="544" y="427"/>
                      <a:pt x="544" y="501"/>
                    </a:cubicBezTo>
                    <a:cubicBezTo>
                      <a:pt x="544" y="554"/>
                      <a:pt x="509" y="585"/>
                      <a:pt x="457" y="585"/>
                    </a:cubicBezTo>
                    <a:close/>
                    <a:moveTo>
                      <a:pt x="314" y="334"/>
                    </a:moveTo>
                    <a:cubicBezTo>
                      <a:pt x="245" y="334"/>
                      <a:pt x="189" y="278"/>
                      <a:pt x="189" y="209"/>
                    </a:cubicBezTo>
                    <a:cubicBezTo>
                      <a:pt x="189" y="140"/>
                      <a:pt x="245" y="83"/>
                      <a:pt x="314" y="83"/>
                    </a:cubicBezTo>
                    <a:cubicBezTo>
                      <a:pt x="384" y="83"/>
                      <a:pt x="440" y="140"/>
                      <a:pt x="440" y="209"/>
                    </a:cubicBezTo>
                    <a:cubicBezTo>
                      <a:pt x="440" y="278"/>
                      <a:pt x="384" y="334"/>
                      <a:pt x="314" y="334"/>
                    </a:cubicBezTo>
                    <a:close/>
                    <a:moveTo>
                      <a:pt x="503" y="167"/>
                    </a:moveTo>
                    <a:cubicBezTo>
                      <a:pt x="456" y="167"/>
                      <a:pt x="419" y="129"/>
                      <a:pt x="419" y="83"/>
                    </a:cubicBezTo>
                    <a:cubicBezTo>
                      <a:pt x="419" y="37"/>
                      <a:pt x="456" y="0"/>
                      <a:pt x="503" y="0"/>
                    </a:cubicBezTo>
                    <a:cubicBezTo>
                      <a:pt x="549" y="0"/>
                      <a:pt x="586" y="37"/>
                      <a:pt x="586" y="83"/>
                    </a:cubicBezTo>
                    <a:cubicBezTo>
                      <a:pt x="586" y="129"/>
                      <a:pt x="549" y="167"/>
                      <a:pt x="503" y="167"/>
                    </a:cubicBezTo>
                    <a:close/>
                    <a:moveTo>
                      <a:pt x="565" y="334"/>
                    </a:moveTo>
                    <a:cubicBezTo>
                      <a:pt x="521" y="334"/>
                      <a:pt x="521" y="334"/>
                      <a:pt x="521" y="334"/>
                    </a:cubicBezTo>
                    <a:cubicBezTo>
                      <a:pt x="499" y="308"/>
                      <a:pt x="468" y="294"/>
                      <a:pt x="434" y="293"/>
                    </a:cubicBezTo>
                    <a:cubicBezTo>
                      <a:pt x="451" y="268"/>
                      <a:pt x="461" y="239"/>
                      <a:pt x="461" y="209"/>
                    </a:cubicBezTo>
                    <a:cubicBezTo>
                      <a:pt x="461" y="202"/>
                      <a:pt x="460" y="195"/>
                      <a:pt x="459" y="187"/>
                    </a:cubicBezTo>
                    <a:cubicBezTo>
                      <a:pt x="473" y="192"/>
                      <a:pt x="488" y="195"/>
                      <a:pt x="503" y="195"/>
                    </a:cubicBezTo>
                    <a:cubicBezTo>
                      <a:pt x="547" y="195"/>
                      <a:pt x="581" y="167"/>
                      <a:pt x="588" y="167"/>
                    </a:cubicBezTo>
                    <a:cubicBezTo>
                      <a:pt x="629" y="167"/>
                      <a:pt x="628" y="256"/>
                      <a:pt x="628" y="282"/>
                    </a:cubicBezTo>
                    <a:cubicBezTo>
                      <a:pt x="628" y="319"/>
                      <a:pt x="597" y="334"/>
                      <a:pt x="565" y="33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56F1990F-5C02-4F2D-BEB7-AB1D9432AB38}"/>
                </a:ext>
              </a:extLst>
            </p:cNvPr>
            <p:cNvSpPr/>
            <p:nvPr/>
          </p:nvSpPr>
          <p:spPr>
            <a:xfrm>
              <a:off x="9217985" y="2966761"/>
              <a:ext cx="960944" cy="459515"/>
            </a:xfrm>
            <a:prstGeom prst="roundRect">
              <a:avLst>
                <a:gd name="adj" fmla="val 86146"/>
              </a:avLst>
            </a:prstGeom>
            <a:solidFill>
              <a:schemeClr val="bg1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80736BF1-E2C0-45C4-896B-EC9D1218DAD4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EC06138-98B6-4288-84A2-6F3D82F187AD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B47E1F5-0E0C-4F8A-B054-B44C62A1D0C4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A90AA4A1-5CAC-4BA0-9193-7605D5EF7267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9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FCC8C995-3B86-4E54-AF30-361773DA29F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56EB650B-3C59-41D7-B741-76A86509275C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4A76BF3-5E89-40B8-949E-826E95897400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998F3D-1D55-45E9-918F-86AEFBBCFC47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Duo / Grou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6A45AC-D7DB-48CD-9E5D-A7BC3E0BC5C6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CCE87B5-CFD2-47DB-9A20-1C181E4F9811}"/>
              </a:ext>
            </a:extLst>
          </p:cNvPr>
          <p:cNvSpPr txBox="1"/>
          <p:nvPr/>
        </p:nvSpPr>
        <p:spPr>
          <a:xfrm>
            <a:off x="4127913" y="2914964"/>
            <a:ext cx="3540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Ninja, 27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667F696-F014-4560-BD00-F089458F0F2B}"/>
              </a:ext>
            </a:extLst>
          </p:cNvPr>
          <p:cNvSpPr txBox="1"/>
          <p:nvPr/>
        </p:nvSpPr>
        <p:spPr>
          <a:xfrm>
            <a:off x="4127913" y="3146570"/>
            <a:ext cx="3540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latin typeface="Montserrat" panose="00000500000000000000" pitchFamily="2" charset="0"/>
              </a:rPr>
              <a:t>Frankfurt Am Main, Germany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0E4C1EC6-30D2-431D-B5CF-93550B358BE2}"/>
              </a:ext>
            </a:extLst>
          </p:cNvPr>
          <p:cNvSpPr/>
          <p:nvPr/>
        </p:nvSpPr>
        <p:spPr>
          <a:xfrm>
            <a:off x="5523712" y="5708635"/>
            <a:ext cx="748427" cy="25253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  <a:latin typeface="Montserrat" panose="00000500000000000000" pitchFamily="2" charset="0"/>
              </a:rPr>
              <a:t>More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68489A1-9C70-410D-A714-CF98B7C5E912}"/>
              </a:ext>
            </a:extLst>
          </p:cNvPr>
          <p:cNvGrpSpPr/>
          <p:nvPr/>
        </p:nvGrpSpPr>
        <p:grpSpPr>
          <a:xfrm>
            <a:off x="5549554" y="3858912"/>
            <a:ext cx="490067" cy="490067"/>
            <a:chOff x="6561610" y="3484981"/>
            <a:chExt cx="490067" cy="490067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DB36CE79-EF8A-4179-8F08-6739DC909AF9}"/>
                </a:ext>
              </a:extLst>
            </p:cNvPr>
            <p:cNvSpPr/>
            <p:nvPr/>
          </p:nvSpPr>
          <p:spPr>
            <a:xfrm>
              <a:off x="6561610" y="3484981"/>
              <a:ext cx="490067" cy="490067"/>
            </a:xfrm>
            <a:prstGeom prst="ellipse">
              <a:avLst/>
            </a:prstGeom>
            <a:solidFill>
              <a:schemeClr val="accent4"/>
            </a:soli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7" name="Picture 8" descr="Fun games joystick icon - Locations Redesign">
              <a:extLst>
                <a:ext uri="{FF2B5EF4-FFF2-40B4-BE49-F238E27FC236}">
                  <a16:creationId xmlns:a16="http://schemas.microsoft.com/office/drawing/2014/main" id="{66B5EEA9-7DA2-4AC5-8FAA-4A0EC280D5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7352" y="3540723"/>
              <a:ext cx="378584" cy="378584"/>
            </a:xfrm>
            <a:prstGeom prst="rect">
              <a:avLst/>
            </a:prstGeom>
            <a:noFill/>
          </p:spPr>
        </p:pic>
      </p:grpSp>
      <p:sp>
        <p:nvSpPr>
          <p:cNvPr id="45" name="Freeform 817">
            <a:extLst>
              <a:ext uri="{FF2B5EF4-FFF2-40B4-BE49-F238E27FC236}">
                <a16:creationId xmlns:a16="http://schemas.microsoft.com/office/drawing/2014/main" id="{CCF51F95-88D4-4E4D-B5DB-B7FFEC98793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41423" y="3738797"/>
            <a:ext cx="260042" cy="263332"/>
          </a:xfrm>
          <a:custGeom>
            <a:avLst/>
            <a:gdLst>
              <a:gd name="T0" fmla="*/ 502 w 502"/>
              <a:gd name="T1" fmla="*/ 288 h 502"/>
              <a:gd name="T2" fmla="*/ 493 w 502"/>
              <a:gd name="T3" fmla="*/ 299 h 502"/>
              <a:gd name="T4" fmla="*/ 432 w 502"/>
              <a:gd name="T5" fmla="*/ 309 h 502"/>
              <a:gd name="T6" fmla="*/ 420 w 502"/>
              <a:gd name="T7" fmla="*/ 338 h 502"/>
              <a:gd name="T8" fmla="*/ 455 w 502"/>
              <a:gd name="T9" fmla="*/ 383 h 502"/>
              <a:gd name="T10" fmla="*/ 458 w 502"/>
              <a:gd name="T11" fmla="*/ 392 h 502"/>
              <a:gd name="T12" fmla="*/ 455 w 502"/>
              <a:gd name="T13" fmla="*/ 399 h 502"/>
              <a:gd name="T14" fmla="*/ 392 w 502"/>
              <a:gd name="T15" fmla="*/ 458 h 502"/>
              <a:gd name="T16" fmla="*/ 383 w 502"/>
              <a:gd name="T17" fmla="*/ 455 h 502"/>
              <a:gd name="T18" fmla="*/ 338 w 502"/>
              <a:gd name="T19" fmla="*/ 419 h 502"/>
              <a:gd name="T20" fmla="*/ 308 w 502"/>
              <a:gd name="T21" fmla="*/ 432 h 502"/>
              <a:gd name="T22" fmla="*/ 299 w 502"/>
              <a:gd name="T23" fmla="*/ 493 h 502"/>
              <a:gd name="T24" fmla="*/ 287 w 502"/>
              <a:gd name="T25" fmla="*/ 502 h 502"/>
              <a:gd name="T26" fmla="*/ 215 w 502"/>
              <a:gd name="T27" fmla="*/ 502 h 502"/>
              <a:gd name="T28" fmla="*/ 203 w 502"/>
              <a:gd name="T29" fmla="*/ 492 h 502"/>
              <a:gd name="T30" fmla="*/ 194 w 502"/>
              <a:gd name="T31" fmla="*/ 432 h 502"/>
              <a:gd name="T32" fmla="*/ 164 w 502"/>
              <a:gd name="T33" fmla="*/ 420 h 502"/>
              <a:gd name="T34" fmla="*/ 118 w 502"/>
              <a:gd name="T35" fmla="*/ 455 h 502"/>
              <a:gd name="T36" fmla="*/ 110 w 502"/>
              <a:gd name="T37" fmla="*/ 458 h 502"/>
              <a:gd name="T38" fmla="*/ 102 w 502"/>
              <a:gd name="T39" fmla="*/ 454 h 502"/>
              <a:gd name="T40" fmla="*/ 48 w 502"/>
              <a:gd name="T41" fmla="*/ 399 h 502"/>
              <a:gd name="T42" fmla="*/ 46 w 502"/>
              <a:gd name="T43" fmla="*/ 392 h 502"/>
              <a:gd name="T44" fmla="*/ 48 w 502"/>
              <a:gd name="T45" fmla="*/ 384 h 502"/>
              <a:gd name="T46" fmla="*/ 83 w 502"/>
              <a:gd name="T47" fmla="*/ 339 h 502"/>
              <a:gd name="T48" fmla="*/ 69 w 502"/>
              <a:gd name="T49" fmla="*/ 307 h 502"/>
              <a:gd name="T50" fmla="*/ 10 w 502"/>
              <a:gd name="T51" fmla="*/ 298 h 502"/>
              <a:gd name="T52" fmla="*/ 0 w 502"/>
              <a:gd name="T53" fmla="*/ 286 h 502"/>
              <a:gd name="T54" fmla="*/ 0 w 502"/>
              <a:gd name="T55" fmla="*/ 214 h 502"/>
              <a:gd name="T56" fmla="*/ 9 w 502"/>
              <a:gd name="T57" fmla="*/ 202 h 502"/>
              <a:gd name="T58" fmla="*/ 70 w 502"/>
              <a:gd name="T59" fmla="*/ 193 h 502"/>
              <a:gd name="T60" fmla="*/ 82 w 502"/>
              <a:gd name="T61" fmla="*/ 163 h 502"/>
              <a:gd name="T62" fmla="*/ 47 w 502"/>
              <a:gd name="T63" fmla="*/ 118 h 502"/>
              <a:gd name="T64" fmla="*/ 44 w 502"/>
              <a:gd name="T65" fmla="*/ 110 h 502"/>
              <a:gd name="T66" fmla="*/ 47 w 502"/>
              <a:gd name="T67" fmla="*/ 102 h 502"/>
              <a:gd name="T68" fmla="*/ 110 w 502"/>
              <a:gd name="T69" fmla="*/ 44 h 502"/>
              <a:gd name="T70" fmla="*/ 119 w 502"/>
              <a:gd name="T71" fmla="*/ 47 h 502"/>
              <a:gd name="T72" fmla="*/ 164 w 502"/>
              <a:gd name="T73" fmla="*/ 82 h 502"/>
              <a:gd name="T74" fmla="*/ 193 w 502"/>
              <a:gd name="T75" fmla="*/ 70 h 502"/>
              <a:gd name="T76" fmla="*/ 203 w 502"/>
              <a:gd name="T77" fmla="*/ 9 h 502"/>
              <a:gd name="T78" fmla="*/ 215 w 502"/>
              <a:gd name="T79" fmla="*/ 0 h 502"/>
              <a:gd name="T80" fmla="*/ 287 w 502"/>
              <a:gd name="T81" fmla="*/ 0 h 502"/>
              <a:gd name="T82" fmla="*/ 299 w 502"/>
              <a:gd name="T83" fmla="*/ 10 h 502"/>
              <a:gd name="T84" fmla="*/ 308 w 502"/>
              <a:gd name="T85" fmla="*/ 70 h 502"/>
              <a:gd name="T86" fmla="*/ 338 w 502"/>
              <a:gd name="T87" fmla="*/ 82 h 502"/>
              <a:gd name="T88" fmla="*/ 384 w 502"/>
              <a:gd name="T89" fmla="*/ 47 h 502"/>
              <a:gd name="T90" fmla="*/ 392 w 502"/>
              <a:gd name="T91" fmla="*/ 44 h 502"/>
              <a:gd name="T92" fmla="*/ 400 w 502"/>
              <a:gd name="T93" fmla="*/ 47 h 502"/>
              <a:gd name="T94" fmla="*/ 454 w 502"/>
              <a:gd name="T95" fmla="*/ 103 h 502"/>
              <a:gd name="T96" fmla="*/ 456 w 502"/>
              <a:gd name="T97" fmla="*/ 110 h 502"/>
              <a:gd name="T98" fmla="*/ 454 w 502"/>
              <a:gd name="T99" fmla="*/ 117 h 502"/>
              <a:gd name="T100" fmla="*/ 419 w 502"/>
              <a:gd name="T101" fmla="*/ 162 h 502"/>
              <a:gd name="T102" fmla="*/ 433 w 502"/>
              <a:gd name="T103" fmla="*/ 194 h 502"/>
              <a:gd name="T104" fmla="*/ 492 w 502"/>
              <a:gd name="T105" fmla="*/ 203 h 502"/>
              <a:gd name="T106" fmla="*/ 502 w 502"/>
              <a:gd name="T107" fmla="*/ 215 h 502"/>
              <a:gd name="T108" fmla="*/ 502 w 502"/>
              <a:gd name="T109" fmla="*/ 288 h 502"/>
              <a:gd name="T110" fmla="*/ 251 w 502"/>
              <a:gd name="T111" fmla="*/ 167 h 502"/>
              <a:gd name="T112" fmla="*/ 167 w 502"/>
              <a:gd name="T113" fmla="*/ 251 h 502"/>
              <a:gd name="T114" fmla="*/ 251 w 502"/>
              <a:gd name="T115" fmla="*/ 334 h 502"/>
              <a:gd name="T116" fmla="*/ 335 w 502"/>
              <a:gd name="T117" fmla="*/ 251 h 502"/>
              <a:gd name="T118" fmla="*/ 251 w 502"/>
              <a:gd name="T119" fmla="*/ 167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02" h="502">
                <a:moveTo>
                  <a:pt x="502" y="288"/>
                </a:moveTo>
                <a:cubicBezTo>
                  <a:pt x="502" y="293"/>
                  <a:pt x="498" y="298"/>
                  <a:pt x="493" y="299"/>
                </a:cubicBezTo>
                <a:cubicBezTo>
                  <a:pt x="432" y="309"/>
                  <a:pt x="432" y="309"/>
                  <a:pt x="432" y="309"/>
                </a:cubicBezTo>
                <a:cubicBezTo>
                  <a:pt x="429" y="319"/>
                  <a:pt x="425" y="329"/>
                  <a:pt x="420" y="338"/>
                </a:cubicBezTo>
                <a:cubicBezTo>
                  <a:pt x="431" y="354"/>
                  <a:pt x="442" y="369"/>
                  <a:pt x="455" y="383"/>
                </a:cubicBezTo>
                <a:cubicBezTo>
                  <a:pt x="456" y="386"/>
                  <a:pt x="458" y="389"/>
                  <a:pt x="458" y="392"/>
                </a:cubicBezTo>
                <a:cubicBezTo>
                  <a:pt x="458" y="395"/>
                  <a:pt x="457" y="397"/>
                  <a:pt x="455" y="399"/>
                </a:cubicBezTo>
                <a:cubicBezTo>
                  <a:pt x="447" y="410"/>
                  <a:pt x="403" y="458"/>
                  <a:pt x="392" y="458"/>
                </a:cubicBezTo>
                <a:cubicBezTo>
                  <a:pt x="389" y="458"/>
                  <a:pt x="386" y="456"/>
                  <a:pt x="383" y="455"/>
                </a:cubicBezTo>
                <a:cubicBezTo>
                  <a:pt x="338" y="419"/>
                  <a:pt x="338" y="419"/>
                  <a:pt x="338" y="419"/>
                </a:cubicBezTo>
                <a:cubicBezTo>
                  <a:pt x="329" y="424"/>
                  <a:pt x="319" y="429"/>
                  <a:pt x="308" y="432"/>
                </a:cubicBezTo>
                <a:cubicBezTo>
                  <a:pt x="306" y="452"/>
                  <a:pt x="304" y="473"/>
                  <a:pt x="299" y="493"/>
                </a:cubicBezTo>
                <a:cubicBezTo>
                  <a:pt x="298" y="498"/>
                  <a:pt x="293" y="502"/>
                  <a:pt x="287" y="502"/>
                </a:cubicBezTo>
                <a:cubicBezTo>
                  <a:pt x="215" y="502"/>
                  <a:pt x="215" y="502"/>
                  <a:pt x="215" y="502"/>
                </a:cubicBezTo>
                <a:cubicBezTo>
                  <a:pt x="209" y="502"/>
                  <a:pt x="204" y="497"/>
                  <a:pt x="203" y="492"/>
                </a:cubicBezTo>
                <a:cubicBezTo>
                  <a:pt x="194" y="432"/>
                  <a:pt x="194" y="432"/>
                  <a:pt x="194" y="432"/>
                </a:cubicBezTo>
                <a:cubicBezTo>
                  <a:pt x="184" y="429"/>
                  <a:pt x="174" y="425"/>
                  <a:pt x="164" y="420"/>
                </a:cubicBezTo>
                <a:cubicBezTo>
                  <a:pt x="118" y="455"/>
                  <a:pt x="118" y="455"/>
                  <a:pt x="118" y="455"/>
                </a:cubicBezTo>
                <a:cubicBezTo>
                  <a:pt x="116" y="457"/>
                  <a:pt x="113" y="458"/>
                  <a:pt x="110" y="458"/>
                </a:cubicBezTo>
                <a:cubicBezTo>
                  <a:pt x="107" y="458"/>
                  <a:pt x="104" y="456"/>
                  <a:pt x="102" y="454"/>
                </a:cubicBezTo>
                <a:cubicBezTo>
                  <a:pt x="85" y="438"/>
                  <a:pt x="62" y="418"/>
                  <a:pt x="48" y="399"/>
                </a:cubicBezTo>
                <a:cubicBezTo>
                  <a:pt x="46" y="397"/>
                  <a:pt x="46" y="394"/>
                  <a:pt x="46" y="392"/>
                </a:cubicBezTo>
                <a:cubicBezTo>
                  <a:pt x="46" y="389"/>
                  <a:pt x="47" y="386"/>
                  <a:pt x="48" y="384"/>
                </a:cubicBezTo>
                <a:cubicBezTo>
                  <a:pt x="59" y="369"/>
                  <a:pt x="72" y="355"/>
                  <a:pt x="83" y="339"/>
                </a:cubicBezTo>
                <a:cubicBezTo>
                  <a:pt x="77" y="329"/>
                  <a:pt x="73" y="318"/>
                  <a:pt x="69" y="307"/>
                </a:cubicBezTo>
                <a:cubicBezTo>
                  <a:pt x="10" y="298"/>
                  <a:pt x="10" y="298"/>
                  <a:pt x="10" y="298"/>
                </a:cubicBezTo>
                <a:cubicBezTo>
                  <a:pt x="4" y="297"/>
                  <a:pt x="0" y="292"/>
                  <a:pt x="0" y="286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09"/>
                  <a:pt x="4" y="203"/>
                  <a:pt x="9" y="202"/>
                </a:cubicBezTo>
                <a:cubicBezTo>
                  <a:pt x="70" y="193"/>
                  <a:pt x="70" y="193"/>
                  <a:pt x="70" y="193"/>
                </a:cubicBezTo>
                <a:cubicBezTo>
                  <a:pt x="73" y="182"/>
                  <a:pt x="77" y="173"/>
                  <a:pt x="82" y="163"/>
                </a:cubicBezTo>
                <a:cubicBezTo>
                  <a:pt x="71" y="147"/>
                  <a:pt x="59" y="132"/>
                  <a:pt x="47" y="118"/>
                </a:cubicBezTo>
                <a:cubicBezTo>
                  <a:pt x="45" y="115"/>
                  <a:pt x="44" y="113"/>
                  <a:pt x="44" y="110"/>
                </a:cubicBezTo>
                <a:cubicBezTo>
                  <a:pt x="44" y="107"/>
                  <a:pt x="45" y="105"/>
                  <a:pt x="47" y="102"/>
                </a:cubicBezTo>
                <a:cubicBezTo>
                  <a:pt x="55" y="92"/>
                  <a:pt x="99" y="44"/>
                  <a:pt x="110" y="44"/>
                </a:cubicBezTo>
                <a:cubicBezTo>
                  <a:pt x="113" y="44"/>
                  <a:pt x="116" y="45"/>
                  <a:pt x="119" y="47"/>
                </a:cubicBezTo>
                <a:cubicBezTo>
                  <a:pt x="164" y="82"/>
                  <a:pt x="164" y="82"/>
                  <a:pt x="164" y="82"/>
                </a:cubicBezTo>
                <a:cubicBezTo>
                  <a:pt x="173" y="77"/>
                  <a:pt x="183" y="73"/>
                  <a:pt x="193" y="70"/>
                </a:cubicBezTo>
                <a:cubicBezTo>
                  <a:pt x="196" y="50"/>
                  <a:pt x="198" y="29"/>
                  <a:pt x="203" y="9"/>
                </a:cubicBezTo>
                <a:cubicBezTo>
                  <a:pt x="204" y="4"/>
                  <a:pt x="209" y="0"/>
                  <a:pt x="215" y="0"/>
                </a:cubicBezTo>
                <a:cubicBezTo>
                  <a:pt x="287" y="0"/>
                  <a:pt x="287" y="0"/>
                  <a:pt x="287" y="0"/>
                </a:cubicBezTo>
                <a:cubicBezTo>
                  <a:pt x="293" y="0"/>
                  <a:pt x="298" y="4"/>
                  <a:pt x="299" y="10"/>
                </a:cubicBezTo>
                <a:cubicBezTo>
                  <a:pt x="308" y="70"/>
                  <a:pt x="308" y="70"/>
                  <a:pt x="308" y="70"/>
                </a:cubicBezTo>
                <a:cubicBezTo>
                  <a:pt x="318" y="73"/>
                  <a:pt x="328" y="77"/>
                  <a:pt x="338" y="82"/>
                </a:cubicBezTo>
                <a:cubicBezTo>
                  <a:pt x="384" y="47"/>
                  <a:pt x="384" y="47"/>
                  <a:pt x="384" y="47"/>
                </a:cubicBezTo>
                <a:cubicBezTo>
                  <a:pt x="386" y="45"/>
                  <a:pt x="389" y="44"/>
                  <a:pt x="392" y="44"/>
                </a:cubicBezTo>
                <a:cubicBezTo>
                  <a:pt x="395" y="44"/>
                  <a:pt x="398" y="45"/>
                  <a:pt x="400" y="47"/>
                </a:cubicBezTo>
                <a:cubicBezTo>
                  <a:pt x="417" y="63"/>
                  <a:pt x="440" y="83"/>
                  <a:pt x="454" y="103"/>
                </a:cubicBezTo>
                <a:cubicBezTo>
                  <a:pt x="456" y="105"/>
                  <a:pt x="456" y="107"/>
                  <a:pt x="456" y="110"/>
                </a:cubicBezTo>
                <a:cubicBezTo>
                  <a:pt x="456" y="113"/>
                  <a:pt x="455" y="115"/>
                  <a:pt x="454" y="117"/>
                </a:cubicBezTo>
                <a:cubicBezTo>
                  <a:pt x="442" y="132"/>
                  <a:pt x="430" y="147"/>
                  <a:pt x="419" y="162"/>
                </a:cubicBezTo>
                <a:cubicBezTo>
                  <a:pt x="425" y="173"/>
                  <a:pt x="429" y="183"/>
                  <a:pt x="433" y="194"/>
                </a:cubicBezTo>
                <a:cubicBezTo>
                  <a:pt x="492" y="203"/>
                  <a:pt x="492" y="203"/>
                  <a:pt x="492" y="203"/>
                </a:cubicBezTo>
                <a:cubicBezTo>
                  <a:pt x="498" y="204"/>
                  <a:pt x="502" y="210"/>
                  <a:pt x="502" y="215"/>
                </a:cubicBezTo>
                <a:lnTo>
                  <a:pt x="502" y="288"/>
                </a:lnTo>
                <a:close/>
                <a:moveTo>
                  <a:pt x="251" y="167"/>
                </a:moveTo>
                <a:cubicBezTo>
                  <a:pt x="205" y="167"/>
                  <a:pt x="167" y="205"/>
                  <a:pt x="167" y="251"/>
                </a:cubicBezTo>
                <a:cubicBezTo>
                  <a:pt x="167" y="297"/>
                  <a:pt x="205" y="334"/>
                  <a:pt x="251" y="334"/>
                </a:cubicBezTo>
                <a:cubicBezTo>
                  <a:pt x="297" y="334"/>
                  <a:pt x="335" y="297"/>
                  <a:pt x="335" y="251"/>
                </a:cubicBezTo>
                <a:cubicBezTo>
                  <a:pt x="335" y="205"/>
                  <a:pt x="297" y="167"/>
                  <a:pt x="251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E1051A-2DE5-445C-AC6C-0D23B9F29212}"/>
              </a:ext>
            </a:extLst>
          </p:cNvPr>
          <p:cNvGrpSpPr/>
          <p:nvPr/>
        </p:nvGrpSpPr>
        <p:grpSpPr>
          <a:xfrm>
            <a:off x="6656416" y="3625429"/>
            <a:ext cx="490067" cy="490067"/>
            <a:chOff x="8562677" y="3730774"/>
            <a:chExt cx="490067" cy="49006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531DFE7-D9FF-4789-B494-DF77E2709EB5}"/>
                </a:ext>
              </a:extLst>
            </p:cNvPr>
            <p:cNvSpPr/>
            <p:nvPr/>
          </p:nvSpPr>
          <p:spPr>
            <a:xfrm>
              <a:off x="8562677" y="3730774"/>
              <a:ext cx="490067" cy="49006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 859">
              <a:extLst>
                <a:ext uri="{FF2B5EF4-FFF2-40B4-BE49-F238E27FC236}">
                  <a16:creationId xmlns:a16="http://schemas.microsoft.com/office/drawing/2014/main" id="{F7278232-0918-4D80-97AA-2EA648E9457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683020" y="3845973"/>
              <a:ext cx="249380" cy="246222"/>
            </a:xfrm>
            <a:custGeom>
              <a:avLst/>
              <a:gdLst>
                <a:gd name="T0" fmla="*/ 408 w 495"/>
                <a:gd name="T1" fmla="*/ 223 h 495"/>
                <a:gd name="T2" fmla="*/ 136 w 495"/>
                <a:gd name="T3" fmla="*/ 495 h 495"/>
                <a:gd name="T4" fmla="*/ 0 w 495"/>
                <a:gd name="T5" fmla="*/ 495 h 495"/>
                <a:gd name="T6" fmla="*/ 0 w 495"/>
                <a:gd name="T7" fmla="*/ 359 h 495"/>
                <a:gd name="T8" fmla="*/ 272 w 495"/>
                <a:gd name="T9" fmla="*/ 87 h 495"/>
                <a:gd name="T10" fmla="*/ 408 w 495"/>
                <a:gd name="T11" fmla="*/ 223 h 495"/>
                <a:gd name="T12" fmla="*/ 149 w 495"/>
                <a:gd name="T13" fmla="*/ 423 h 495"/>
                <a:gd name="T14" fmla="*/ 72 w 495"/>
                <a:gd name="T15" fmla="*/ 347 h 495"/>
                <a:gd name="T16" fmla="*/ 42 w 495"/>
                <a:gd name="T17" fmla="*/ 376 h 495"/>
                <a:gd name="T18" fmla="*/ 42 w 495"/>
                <a:gd name="T19" fmla="*/ 411 h 495"/>
                <a:gd name="T20" fmla="*/ 84 w 495"/>
                <a:gd name="T21" fmla="*/ 411 h 495"/>
                <a:gd name="T22" fmla="*/ 84 w 495"/>
                <a:gd name="T23" fmla="*/ 453 h 495"/>
                <a:gd name="T24" fmla="*/ 119 w 495"/>
                <a:gd name="T25" fmla="*/ 453 h 495"/>
                <a:gd name="T26" fmla="*/ 149 w 495"/>
                <a:gd name="T27" fmla="*/ 423 h 495"/>
                <a:gd name="T28" fmla="*/ 282 w 495"/>
                <a:gd name="T29" fmla="*/ 143 h 495"/>
                <a:gd name="T30" fmla="*/ 277 w 495"/>
                <a:gd name="T31" fmla="*/ 145 h 495"/>
                <a:gd name="T32" fmla="*/ 100 w 495"/>
                <a:gd name="T33" fmla="*/ 322 h 495"/>
                <a:gd name="T34" fmla="*/ 98 w 495"/>
                <a:gd name="T35" fmla="*/ 328 h 495"/>
                <a:gd name="T36" fmla="*/ 105 w 495"/>
                <a:gd name="T37" fmla="*/ 335 h 495"/>
                <a:gd name="T38" fmla="*/ 110 w 495"/>
                <a:gd name="T39" fmla="*/ 333 h 495"/>
                <a:gd name="T40" fmla="*/ 287 w 495"/>
                <a:gd name="T41" fmla="*/ 155 h 495"/>
                <a:gd name="T42" fmla="*/ 290 w 495"/>
                <a:gd name="T43" fmla="*/ 150 h 495"/>
                <a:gd name="T44" fmla="*/ 282 w 495"/>
                <a:gd name="T45" fmla="*/ 143 h 495"/>
                <a:gd name="T46" fmla="*/ 483 w 495"/>
                <a:gd name="T47" fmla="*/ 148 h 495"/>
                <a:gd name="T48" fmla="*/ 429 w 495"/>
                <a:gd name="T49" fmla="*/ 202 h 495"/>
                <a:gd name="T50" fmla="*/ 293 w 495"/>
                <a:gd name="T51" fmla="*/ 66 h 495"/>
                <a:gd name="T52" fmla="*/ 347 w 495"/>
                <a:gd name="T53" fmla="*/ 12 h 495"/>
                <a:gd name="T54" fmla="*/ 377 w 495"/>
                <a:gd name="T55" fmla="*/ 0 h 495"/>
                <a:gd name="T56" fmla="*/ 406 w 495"/>
                <a:gd name="T57" fmla="*/ 12 h 495"/>
                <a:gd name="T58" fmla="*/ 483 w 495"/>
                <a:gd name="T59" fmla="*/ 89 h 495"/>
                <a:gd name="T60" fmla="*/ 495 w 495"/>
                <a:gd name="T61" fmla="*/ 119 h 495"/>
                <a:gd name="T62" fmla="*/ 483 w 495"/>
                <a:gd name="T63" fmla="*/ 1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95" h="495">
                  <a:moveTo>
                    <a:pt x="408" y="223"/>
                  </a:moveTo>
                  <a:cubicBezTo>
                    <a:pt x="136" y="495"/>
                    <a:pt x="136" y="495"/>
                    <a:pt x="136" y="495"/>
                  </a:cubicBezTo>
                  <a:cubicBezTo>
                    <a:pt x="0" y="495"/>
                    <a:pt x="0" y="495"/>
                    <a:pt x="0" y="495"/>
                  </a:cubicBezTo>
                  <a:cubicBezTo>
                    <a:pt x="0" y="359"/>
                    <a:pt x="0" y="359"/>
                    <a:pt x="0" y="359"/>
                  </a:cubicBezTo>
                  <a:cubicBezTo>
                    <a:pt x="272" y="87"/>
                    <a:pt x="272" y="87"/>
                    <a:pt x="272" y="87"/>
                  </a:cubicBezTo>
                  <a:lnTo>
                    <a:pt x="408" y="223"/>
                  </a:lnTo>
                  <a:close/>
                  <a:moveTo>
                    <a:pt x="149" y="423"/>
                  </a:moveTo>
                  <a:cubicBezTo>
                    <a:pt x="72" y="347"/>
                    <a:pt x="72" y="347"/>
                    <a:pt x="72" y="347"/>
                  </a:cubicBezTo>
                  <a:cubicBezTo>
                    <a:pt x="42" y="376"/>
                    <a:pt x="42" y="376"/>
                    <a:pt x="42" y="376"/>
                  </a:cubicBezTo>
                  <a:cubicBezTo>
                    <a:pt x="42" y="411"/>
                    <a:pt x="42" y="411"/>
                    <a:pt x="42" y="411"/>
                  </a:cubicBezTo>
                  <a:cubicBezTo>
                    <a:pt x="84" y="411"/>
                    <a:pt x="84" y="411"/>
                    <a:pt x="84" y="411"/>
                  </a:cubicBezTo>
                  <a:cubicBezTo>
                    <a:pt x="84" y="453"/>
                    <a:pt x="84" y="453"/>
                    <a:pt x="84" y="453"/>
                  </a:cubicBezTo>
                  <a:cubicBezTo>
                    <a:pt x="119" y="453"/>
                    <a:pt x="119" y="453"/>
                    <a:pt x="119" y="453"/>
                  </a:cubicBezTo>
                  <a:lnTo>
                    <a:pt x="149" y="423"/>
                  </a:lnTo>
                  <a:close/>
                  <a:moveTo>
                    <a:pt x="282" y="143"/>
                  </a:moveTo>
                  <a:cubicBezTo>
                    <a:pt x="281" y="143"/>
                    <a:pt x="279" y="143"/>
                    <a:pt x="277" y="145"/>
                  </a:cubicBezTo>
                  <a:cubicBezTo>
                    <a:pt x="100" y="322"/>
                    <a:pt x="100" y="322"/>
                    <a:pt x="100" y="322"/>
                  </a:cubicBezTo>
                  <a:cubicBezTo>
                    <a:pt x="98" y="324"/>
                    <a:pt x="98" y="326"/>
                    <a:pt x="98" y="328"/>
                  </a:cubicBezTo>
                  <a:cubicBezTo>
                    <a:pt x="98" y="332"/>
                    <a:pt x="100" y="335"/>
                    <a:pt x="105" y="335"/>
                  </a:cubicBezTo>
                  <a:cubicBezTo>
                    <a:pt x="107" y="335"/>
                    <a:pt x="109" y="334"/>
                    <a:pt x="110" y="333"/>
                  </a:cubicBezTo>
                  <a:cubicBezTo>
                    <a:pt x="287" y="155"/>
                    <a:pt x="287" y="155"/>
                    <a:pt x="287" y="155"/>
                  </a:cubicBezTo>
                  <a:cubicBezTo>
                    <a:pt x="289" y="154"/>
                    <a:pt x="290" y="152"/>
                    <a:pt x="290" y="150"/>
                  </a:cubicBezTo>
                  <a:cubicBezTo>
                    <a:pt x="290" y="146"/>
                    <a:pt x="287" y="143"/>
                    <a:pt x="282" y="143"/>
                  </a:cubicBezTo>
                  <a:close/>
                  <a:moveTo>
                    <a:pt x="483" y="148"/>
                  </a:moveTo>
                  <a:cubicBezTo>
                    <a:pt x="429" y="202"/>
                    <a:pt x="429" y="202"/>
                    <a:pt x="429" y="202"/>
                  </a:cubicBezTo>
                  <a:cubicBezTo>
                    <a:pt x="293" y="66"/>
                    <a:pt x="293" y="66"/>
                    <a:pt x="293" y="66"/>
                  </a:cubicBezTo>
                  <a:cubicBezTo>
                    <a:pt x="347" y="12"/>
                    <a:pt x="347" y="12"/>
                    <a:pt x="347" y="12"/>
                  </a:cubicBezTo>
                  <a:cubicBezTo>
                    <a:pt x="355" y="4"/>
                    <a:pt x="365" y="0"/>
                    <a:pt x="377" y="0"/>
                  </a:cubicBezTo>
                  <a:cubicBezTo>
                    <a:pt x="388" y="0"/>
                    <a:pt x="398" y="4"/>
                    <a:pt x="406" y="12"/>
                  </a:cubicBezTo>
                  <a:cubicBezTo>
                    <a:pt x="483" y="89"/>
                    <a:pt x="483" y="89"/>
                    <a:pt x="483" y="89"/>
                  </a:cubicBezTo>
                  <a:cubicBezTo>
                    <a:pt x="491" y="97"/>
                    <a:pt x="495" y="107"/>
                    <a:pt x="495" y="119"/>
                  </a:cubicBezTo>
                  <a:cubicBezTo>
                    <a:pt x="495" y="130"/>
                    <a:pt x="491" y="140"/>
                    <a:pt x="483" y="1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B237D32C-39C0-45F2-A74C-8FB34475E33A}"/>
              </a:ext>
            </a:extLst>
          </p:cNvPr>
          <p:cNvSpPr txBox="1"/>
          <p:nvPr/>
        </p:nvSpPr>
        <p:spPr>
          <a:xfrm>
            <a:off x="4341332" y="4189312"/>
            <a:ext cx="8519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Generalsetting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30A7607-29E0-4D2F-B471-DDB8F82CE0F2}"/>
              </a:ext>
            </a:extLst>
          </p:cNvPr>
          <p:cNvSpPr txBox="1"/>
          <p:nvPr/>
        </p:nvSpPr>
        <p:spPr>
          <a:xfrm>
            <a:off x="5380259" y="4414503"/>
            <a:ext cx="960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Gaming</a:t>
            </a:r>
            <a:br>
              <a:rPr lang="en-US" sz="1200">
                <a:latin typeface="Montserrat" panose="00000500000000000000" pitchFamily="2" charset="0"/>
              </a:rPr>
            </a:br>
            <a:r>
              <a:rPr lang="en-US" sz="1200">
                <a:latin typeface="Montserrat" panose="00000500000000000000" pitchFamily="2" charset="0"/>
              </a:rPr>
              <a:t>Accoun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7770EC-2D78-4DA0-9DD7-705EF9742BA0}"/>
              </a:ext>
            </a:extLst>
          </p:cNvPr>
          <p:cNvSpPr txBox="1"/>
          <p:nvPr/>
        </p:nvSpPr>
        <p:spPr>
          <a:xfrm>
            <a:off x="6395875" y="4189312"/>
            <a:ext cx="1019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Edit my Profile</a:t>
            </a:r>
          </a:p>
        </p:txBody>
      </p:sp>
      <p:sp>
        <p:nvSpPr>
          <p:cNvPr id="61" name="Freeform 879">
            <a:extLst>
              <a:ext uri="{FF2B5EF4-FFF2-40B4-BE49-F238E27FC236}">
                <a16:creationId xmlns:a16="http://schemas.microsoft.com/office/drawing/2014/main" id="{4D9C60A9-B975-45C1-BAFB-217D96370B8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93034" y="3737949"/>
            <a:ext cx="241926" cy="241926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397 w 502"/>
              <a:gd name="T11" fmla="*/ 230 h 502"/>
              <a:gd name="T12" fmla="*/ 376 w 502"/>
              <a:gd name="T13" fmla="*/ 209 h 502"/>
              <a:gd name="T14" fmla="*/ 293 w 502"/>
              <a:gd name="T15" fmla="*/ 209 h 502"/>
              <a:gd name="T16" fmla="*/ 293 w 502"/>
              <a:gd name="T17" fmla="*/ 125 h 502"/>
              <a:gd name="T18" fmla="*/ 272 w 502"/>
              <a:gd name="T19" fmla="*/ 104 h 502"/>
              <a:gd name="T20" fmla="*/ 230 w 502"/>
              <a:gd name="T21" fmla="*/ 104 h 502"/>
              <a:gd name="T22" fmla="*/ 209 w 502"/>
              <a:gd name="T23" fmla="*/ 125 h 502"/>
              <a:gd name="T24" fmla="*/ 209 w 502"/>
              <a:gd name="T25" fmla="*/ 209 h 502"/>
              <a:gd name="T26" fmla="*/ 125 w 502"/>
              <a:gd name="T27" fmla="*/ 209 h 502"/>
              <a:gd name="T28" fmla="*/ 104 w 502"/>
              <a:gd name="T29" fmla="*/ 230 h 502"/>
              <a:gd name="T30" fmla="*/ 104 w 502"/>
              <a:gd name="T31" fmla="*/ 272 h 502"/>
              <a:gd name="T32" fmla="*/ 125 w 502"/>
              <a:gd name="T33" fmla="*/ 293 h 502"/>
              <a:gd name="T34" fmla="*/ 209 w 502"/>
              <a:gd name="T35" fmla="*/ 293 h 502"/>
              <a:gd name="T36" fmla="*/ 209 w 502"/>
              <a:gd name="T37" fmla="*/ 376 h 502"/>
              <a:gd name="T38" fmla="*/ 230 w 502"/>
              <a:gd name="T39" fmla="*/ 397 h 502"/>
              <a:gd name="T40" fmla="*/ 272 w 502"/>
              <a:gd name="T41" fmla="*/ 397 h 502"/>
              <a:gd name="T42" fmla="*/ 293 w 502"/>
              <a:gd name="T43" fmla="*/ 376 h 502"/>
              <a:gd name="T44" fmla="*/ 293 w 502"/>
              <a:gd name="T45" fmla="*/ 293 h 502"/>
              <a:gd name="T46" fmla="*/ 376 w 502"/>
              <a:gd name="T47" fmla="*/ 293 h 502"/>
              <a:gd name="T48" fmla="*/ 397 w 502"/>
              <a:gd name="T49" fmla="*/ 272 h 502"/>
              <a:gd name="T50" fmla="*/ 397 w 502"/>
              <a:gd name="T51" fmla="*/ 230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2" y="502"/>
                  <a:pt x="0" y="389"/>
                  <a:pt x="0" y="251"/>
                </a:cubicBezTo>
                <a:cubicBezTo>
                  <a:pt x="0" y="112"/>
                  <a:pt x="112" y="0"/>
                  <a:pt x="251" y="0"/>
                </a:cubicBezTo>
                <a:cubicBezTo>
                  <a:pt x="389" y="0"/>
                  <a:pt x="502" y="112"/>
                  <a:pt x="502" y="251"/>
                </a:cubicBezTo>
                <a:cubicBezTo>
                  <a:pt x="502" y="389"/>
                  <a:pt x="389" y="502"/>
                  <a:pt x="251" y="502"/>
                </a:cubicBezTo>
                <a:close/>
                <a:moveTo>
                  <a:pt x="397" y="230"/>
                </a:moveTo>
                <a:cubicBezTo>
                  <a:pt x="397" y="218"/>
                  <a:pt x="388" y="209"/>
                  <a:pt x="376" y="209"/>
                </a:cubicBezTo>
                <a:cubicBezTo>
                  <a:pt x="293" y="209"/>
                  <a:pt x="293" y="209"/>
                  <a:pt x="293" y="209"/>
                </a:cubicBezTo>
                <a:cubicBezTo>
                  <a:pt x="293" y="125"/>
                  <a:pt x="293" y="125"/>
                  <a:pt x="293" y="125"/>
                </a:cubicBezTo>
                <a:cubicBezTo>
                  <a:pt x="293" y="114"/>
                  <a:pt x="283" y="104"/>
                  <a:pt x="272" y="104"/>
                </a:cubicBezTo>
                <a:cubicBezTo>
                  <a:pt x="230" y="104"/>
                  <a:pt x="230" y="104"/>
                  <a:pt x="230" y="104"/>
                </a:cubicBezTo>
                <a:cubicBezTo>
                  <a:pt x="218" y="104"/>
                  <a:pt x="209" y="114"/>
                  <a:pt x="209" y="125"/>
                </a:cubicBezTo>
                <a:cubicBezTo>
                  <a:pt x="209" y="209"/>
                  <a:pt x="209" y="209"/>
                  <a:pt x="209" y="209"/>
                </a:cubicBezTo>
                <a:cubicBezTo>
                  <a:pt x="125" y="209"/>
                  <a:pt x="125" y="209"/>
                  <a:pt x="125" y="209"/>
                </a:cubicBezTo>
                <a:cubicBezTo>
                  <a:pt x="114" y="209"/>
                  <a:pt x="104" y="218"/>
                  <a:pt x="104" y="230"/>
                </a:cubicBezTo>
                <a:cubicBezTo>
                  <a:pt x="104" y="272"/>
                  <a:pt x="104" y="272"/>
                  <a:pt x="104" y="272"/>
                </a:cubicBezTo>
                <a:cubicBezTo>
                  <a:pt x="104" y="283"/>
                  <a:pt x="114" y="293"/>
                  <a:pt x="125" y="293"/>
                </a:cubicBezTo>
                <a:cubicBezTo>
                  <a:pt x="209" y="293"/>
                  <a:pt x="209" y="293"/>
                  <a:pt x="209" y="293"/>
                </a:cubicBezTo>
                <a:cubicBezTo>
                  <a:pt x="209" y="376"/>
                  <a:pt x="209" y="376"/>
                  <a:pt x="209" y="376"/>
                </a:cubicBezTo>
                <a:cubicBezTo>
                  <a:pt x="209" y="388"/>
                  <a:pt x="218" y="397"/>
                  <a:pt x="230" y="397"/>
                </a:cubicBezTo>
                <a:cubicBezTo>
                  <a:pt x="272" y="397"/>
                  <a:pt x="272" y="397"/>
                  <a:pt x="272" y="397"/>
                </a:cubicBezTo>
                <a:cubicBezTo>
                  <a:pt x="283" y="397"/>
                  <a:pt x="293" y="388"/>
                  <a:pt x="293" y="376"/>
                </a:cubicBezTo>
                <a:cubicBezTo>
                  <a:pt x="293" y="293"/>
                  <a:pt x="293" y="293"/>
                  <a:pt x="293" y="293"/>
                </a:cubicBezTo>
                <a:cubicBezTo>
                  <a:pt x="376" y="293"/>
                  <a:pt x="376" y="293"/>
                  <a:pt x="376" y="293"/>
                </a:cubicBezTo>
                <a:cubicBezTo>
                  <a:pt x="388" y="293"/>
                  <a:pt x="397" y="283"/>
                  <a:pt x="397" y="272"/>
                </a:cubicBezTo>
                <a:lnTo>
                  <a:pt x="397" y="2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368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B374A9E-5B8F-4F57-AD08-84003D133458}"/>
              </a:ext>
            </a:extLst>
          </p:cNvPr>
          <p:cNvSpPr/>
          <p:nvPr/>
        </p:nvSpPr>
        <p:spPr>
          <a:xfrm>
            <a:off x="4127913" y="908855"/>
            <a:ext cx="3520662" cy="3300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32B5C39-E35A-4580-93B7-3734010ACE83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noFill/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5C66C62-418E-41BE-8FF9-D38846B7F762}"/>
              </a:ext>
            </a:extLst>
          </p:cNvPr>
          <p:cNvSpPr/>
          <p:nvPr/>
        </p:nvSpPr>
        <p:spPr>
          <a:xfrm>
            <a:off x="4355058" y="1282763"/>
            <a:ext cx="3122614" cy="4693351"/>
          </a:xfrm>
          <a:prstGeom prst="roundRect">
            <a:avLst>
              <a:gd name="adj" fmla="val 3863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Top Corners Rounded 39">
            <a:extLst>
              <a:ext uri="{FF2B5EF4-FFF2-40B4-BE49-F238E27FC236}">
                <a16:creationId xmlns:a16="http://schemas.microsoft.com/office/drawing/2014/main" id="{9CB9AA00-A739-45D9-809D-EFB1A0C54A96}"/>
              </a:ext>
            </a:extLst>
          </p:cNvPr>
          <p:cNvSpPr/>
          <p:nvPr/>
        </p:nvSpPr>
        <p:spPr>
          <a:xfrm>
            <a:off x="5899876" y="1282763"/>
            <a:ext cx="1577795" cy="695325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D3D5A0D6-3D11-4839-9116-FCB1694E0A18}"/>
              </a:ext>
            </a:extLst>
          </p:cNvPr>
          <p:cNvSpPr/>
          <p:nvPr/>
        </p:nvSpPr>
        <p:spPr>
          <a:xfrm>
            <a:off x="4355058" y="1282764"/>
            <a:ext cx="1544820" cy="695325"/>
          </a:xfrm>
          <a:prstGeom prst="round2SameRect">
            <a:avLst/>
          </a:prstGeom>
          <a:solidFill>
            <a:srgbClr val="F7F7F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7: Set my discovery preferenc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F4D02A-01BB-4791-BA36-DD37CA8607D8}"/>
              </a:ext>
            </a:extLst>
          </p:cNvPr>
          <p:cNvSpPr/>
          <p:nvPr/>
        </p:nvSpPr>
        <p:spPr>
          <a:xfrm>
            <a:off x="477452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4A76BF3-5E89-40B8-949E-826E95897400}"/>
              </a:ext>
            </a:extLst>
          </p:cNvPr>
          <p:cNvSpPr txBox="1"/>
          <p:nvPr/>
        </p:nvSpPr>
        <p:spPr>
          <a:xfrm>
            <a:off x="4127913" y="920008"/>
            <a:ext cx="3520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Discovery setting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E1BBFD-AF3B-4048-B328-4DB7F4243E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511" t="31116" r="7182" b="4973"/>
          <a:stretch/>
        </p:blipFill>
        <p:spPr>
          <a:xfrm>
            <a:off x="4364617" y="1929126"/>
            <a:ext cx="3113054" cy="3868763"/>
          </a:xfrm>
          <a:prstGeom prst="rect">
            <a:avLst/>
          </a:prstGeom>
        </p:spPr>
      </p:pic>
      <p:sp>
        <p:nvSpPr>
          <p:cNvPr id="33" name="Freeform 877">
            <a:extLst>
              <a:ext uri="{FF2B5EF4-FFF2-40B4-BE49-F238E27FC236}">
                <a16:creationId xmlns:a16="http://schemas.microsoft.com/office/drawing/2014/main" id="{07085AA0-5D81-47FD-859F-86DEC7CA33DA}"/>
              </a:ext>
            </a:extLst>
          </p:cNvPr>
          <p:cNvSpPr>
            <a:spLocks noChangeAspect="1"/>
          </p:cNvSpPr>
          <p:nvPr/>
        </p:nvSpPr>
        <p:spPr bwMode="auto">
          <a:xfrm>
            <a:off x="4307432" y="984814"/>
            <a:ext cx="114535" cy="178166"/>
          </a:xfrm>
          <a:custGeom>
            <a:avLst/>
            <a:gdLst>
              <a:gd name="T0" fmla="*/ 161 w 343"/>
              <a:gd name="T1" fmla="*/ 265 h 530"/>
              <a:gd name="T2" fmla="*/ 335 w 343"/>
              <a:gd name="T3" fmla="*/ 438 h 530"/>
              <a:gd name="T4" fmla="*/ 335 w 343"/>
              <a:gd name="T5" fmla="*/ 468 h 530"/>
              <a:gd name="T6" fmla="*/ 280 w 343"/>
              <a:gd name="T7" fmla="*/ 522 h 530"/>
              <a:gd name="T8" fmla="*/ 251 w 343"/>
              <a:gd name="T9" fmla="*/ 522 h 530"/>
              <a:gd name="T10" fmla="*/ 8 w 343"/>
              <a:gd name="T11" fmla="*/ 280 h 530"/>
              <a:gd name="T12" fmla="*/ 8 w 343"/>
              <a:gd name="T13" fmla="*/ 250 h 530"/>
              <a:gd name="T14" fmla="*/ 251 w 343"/>
              <a:gd name="T15" fmla="*/ 8 h 530"/>
              <a:gd name="T16" fmla="*/ 280 w 343"/>
              <a:gd name="T17" fmla="*/ 8 h 530"/>
              <a:gd name="T18" fmla="*/ 335 w 343"/>
              <a:gd name="T19" fmla="*/ 62 h 530"/>
              <a:gd name="T20" fmla="*/ 335 w 343"/>
              <a:gd name="T21" fmla="*/ 91 h 530"/>
              <a:gd name="T22" fmla="*/ 161 w 343"/>
              <a:gd name="T23" fmla="*/ 265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3" h="530">
                <a:moveTo>
                  <a:pt x="161" y="265"/>
                </a:moveTo>
                <a:cubicBezTo>
                  <a:pt x="335" y="438"/>
                  <a:pt x="335" y="438"/>
                  <a:pt x="335" y="438"/>
                </a:cubicBezTo>
                <a:cubicBezTo>
                  <a:pt x="343" y="447"/>
                  <a:pt x="343" y="460"/>
                  <a:pt x="335" y="468"/>
                </a:cubicBezTo>
                <a:cubicBezTo>
                  <a:pt x="280" y="522"/>
                  <a:pt x="280" y="522"/>
                  <a:pt x="280" y="522"/>
                </a:cubicBezTo>
                <a:cubicBezTo>
                  <a:pt x="272" y="530"/>
                  <a:pt x="259" y="530"/>
                  <a:pt x="251" y="522"/>
                </a:cubicBezTo>
                <a:cubicBezTo>
                  <a:pt x="8" y="280"/>
                  <a:pt x="8" y="280"/>
                  <a:pt x="8" y="280"/>
                </a:cubicBezTo>
                <a:cubicBezTo>
                  <a:pt x="0" y="272"/>
                  <a:pt x="0" y="258"/>
                  <a:pt x="8" y="250"/>
                </a:cubicBezTo>
                <a:cubicBezTo>
                  <a:pt x="251" y="8"/>
                  <a:pt x="251" y="8"/>
                  <a:pt x="251" y="8"/>
                </a:cubicBezTo>
                <a:cubicBezTo>
                  <a:pt x="259" y="0"/>
                  <a:pt x="272" y="0"/>
                  <a:pt x="280" y="8"/>
                </a:cubicBezTo>
                <a:cubicBezTo>
                  <a:pt x="335" y="62"/>
                  <a:pt x="335" y="62"/>
                  <a:pt x="335" y="62"/>
                </a:cubicBezTo>
                <a:cubicBezTo>
                  <a:pt x="343" y="70"/>
                  <a:pt x="343" y="83"/>
                  <a:pt x="335" y="91"/>
                </a:cubicBezTo>
                <a:lnTo>
                  <a:pt x="161" y="26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66B664D-F2CB-4945-86F5-9E40248E682E}"/>
              </a:ext>
            </a:extLst>
          </p:cNvPr>
          <p:cNvSpPr/>
          <p:nvPr/>
        </p:nvSpPr>
        <p:spPr>
          <a:xfrm>
            <a:off x="4288066" y="1420819"/>
            <a:ext cx="1748697" cy="33008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About 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79A4A32-10E4-4EC2-AE25-C9EA357AF46D}"/>
              </a:ext>
            </a:extLst>
          </p:cNvPr>
          <p:cNvSpPr/>
          <p:nvPr/>
        </p:nvSpPr>
        <p:spPr>
          <a:xfrm>
            <a:off x="5899877" y="1420818"/>
            <a:ext cx="1748698" cy="33008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Looking for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7F0BD336-12DF-477A-83D3-B7EE7B0932E6}"/>
              </a:ext>
            </a:extLst>
          </p:cNvPr>
          <p:cNvSpPr/>
          <p:nvPr/>
        </p:nvSpPr>
        <p:spPr>
          <a:xfrm>
            <a:off x="5295201" y="6028896"/>
            <a:ext cx="1134070" cy="382656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Montserrat" panose="00000500000000000000" pitchFamily="2" charset="0"/>
              </a:rPr>
              <a:t>SAVE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E5D6302F-604F-4DFB-B9E4-62BAED15C76F}"/>
              </a:ext>
            </a:extLst>
          </p:cNvPr>
          <p:cNvSpPr/>
          <p:nvPr/>
        </p:nvSpPr>
        <p:spPr>
          <a:xfrm>
            <a:off x="4364617" y="6028896"/>
            <a:ext cx="748427" cy="3826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rgbClr val="FF0000"/>
                </a:solidFill>
                <a:latin typeface="Montserrat" panose="00000500000000000000" pitchFamily="2" charset="0"/>
              </a:rPr>
              <a:t>RESET</a:t>
            </a:r>
          </a:p>
        </p:txBody>
      </p:sp>
    </p:spTree>
    <p:extLst>
      <p:ext uri="{BB962C8B-B14F-4D97-AF65-F5344CB8AC3E}">
        <p14:creationId xmlns:p14="http://schemas.microsoft.com/office/powerpoint/2010/main" val="36159975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: Top Corners Rounded 39">
            <a:extLst>
              <a:ext uri="{FF2B5EF4-FFF2-40B4-BE49-F238E27FC236}">
                <a16:creationId xmlns:a16="http://schemas.microsoft.com/office/drawing/2014/main" id="{9CB9AA00-A739-45D9-809D-EFB1A0C54A96}"/>
              </a:ext>
            </a:extLst>
          </p:cNvPr>
          <p:cNvSpPr/>
          <p:nvPr/>
        </p:nvSpPr>
        <p:spPr>
          <a:xfrm flipV="1">
            <a:off x="5899876" y="5386330"/>
            <a:ext cx="1577795" cy="695325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D3D5A0D6-3D11-4839-9116-FCB1694E0A18}"/>
              </a:ext>
            </a:extLst>
          </p:cNvPr>
          <p:cNvSpPr/>
          <p:nvPr/>
        </p:nvSpPr>
        <p:spPr>
          <a:xfrm flipV="1">
            <a:off x="4355058" y="5386330"/>
            <a:ext cx="1544820" cy="695325"/>
          </a:xfrm>
          <a:prstGeom prst="round2Same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374A9E-5B8F-4F57-AD08-84003D133458}"/>
              </a:ext>
            </a:extLst>
          </p:cNvPr>
          <p:cNvSpPr/>
          <p:nvPr/>
        </p:nvSpPr>
        <p:spPr>
          <a:xfrm>
            <a:off x="4127913" y="908855"/>
            <a:ext cx="3520662" cy="3300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32B5C39-E35A-4580-93B7-3734010ACE83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noFill/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7: Set my discovery preferenc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F4D02A-01BB-4791-BA36-DD37CA8607D8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4A76BF3-5E89-40B8-949E-826E95897400}"/>
              </a:ext>
            </a:extLst>
          </p:cNvPr>
          <p:cNvSpPr txBox="1"/>
          <p:nvPr/>
        </p:nvSpPr>
        <p:spPr>
          <a:xfrm>
            <a:off x="4551415" y="920008"/>
            <a:ext cx="18328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Discovery setting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E1BBFD-AF3B-4048-B328-4DB7F4243E8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02" t="31116" r="6423" b="2401"/>
          <a:stretch/>
        </p:blipFill>
        <p:spPr>
          <a:xfrm>
            <a:off x="4307432" y="1274213"/>
            <a:ext cx="3200400" cy="4109746"/>
          </a:xfrm>
          <a:prstGeom prst="rect">
            <a:avLst/>
          </a:prstGeom>
        </p:spPr>
      </p:pic>
      <p:sp>
        <p:nvSpPr>
          <p:cNvPr id="33" name="Freeform 877">
            <a:extLst>
              <a:ext uri="{FF2B5EF4-FFF2-40B4-BE49-F238E27FC236}">
                <a16:creationId xmlns:a16="http://schemas.microsoft.com/office/drawing/2014/main" id="{07085AA0-5D81-47FD-859F-86DEC7CA33DA}"/>
              </a:ext>
            </a:extLst>
          </p:cNvPr>
          <p:cNvSpPr>
            <a:spLocks noChangeAspect="1"/>
          </p:cNvSpPr>
          <p:nvPr/>
        </p:nvSpPr>
        <p:spPr bwMode="auto">
          <a:xfrm>
            <a:off x="4307432" y="984814"/>
            <a:ext cx="114535" cy="178166"/>
          </a:xfrm>
          <a:custGeom>
            <a:avLst/>
            <a:gdLst>
              <a:gd name="T0" fmla="*/ 161 w 343"/>
              <a:gd name="T1" fmla="*/ 265 h 530"/>
              <a:gd name="T2" fmla="*/ 335 w 343"/>
              <a:gd name="T3" fmla="*/ 438 h 530"/>
              <a:gd name="T4" fmla="*/ 335 w 343"/>
              <a:gd name="T5" fmla="*/ 468 h 530"/>
              <a:gd name="T6" fmla="*/ 280 w 343"/>
              <a:gd name="T7" fmla="*/ 522 h 530"/>
              <a:gd name="T8" fmla="*/ 251 w 343"/>
              <a:gd name="T9" fmla="*/ 522 h 530"/>
              <a:gd name="T10" fmla="*/ 8 w 343"/>
              <a:gd name="T11" fmla="*/ 280 h 530"/>
              <a:gd name="T12" fmla="*/ 8 w 343"/>
              <a:gd name="T13" fmla="*/ 250 h 530"/>
              <a:gd name="T14" fmla="*/ 251 w 343"/>
              <a:gd name="T15" fmla="*/ 8 h 530"/>
              <a:gd name="T16" fmla="*/ 280 w 343"/>
              <a:gd name="T17" fmla="*/ 8 h 530"/>
              <a:gd name="T18" fmla="*/ 335 w 343"/>
              <a:gd name="T19" fmla="*/ 62 h 530"/>
              <a:gd name="T20" fmla="*/ 335 w 343"/>
              <a:gd name="T21" fmla="*/ 91 h 530"/>
              <a:gd name="T22" fmla="*/ 161 w 343"/>
              <a:gd name="T23" fmla="*/ 265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3" h="530">
                <a:moveTo>
                  <a:pt x="161" y="265"/>
                </a:moveTo>
                <a:cubicBezTo>
                  <a:pt x="335" y="438"/>
                  <a:pt x="335" y="438"/>
                  <a:pt x="335" y="438"/>
                </a:cubicBezTo>
                <a:cubicBezTo>
                  <a:pt x="343" y="447"/>
                  <a:pt x="343" y="460"/>
                  <a:pt x="335" y="468"/>
                </a:cubicBezTo>
                <a:cubicBezTo>
                  <a:pt x="280" y="522"/>
                  <a:pt x="280" y="522"/>
                  <a:pt x="280" y="522"/>
                </a:cubicBezTo>
                <a:cubicBezTo>
                  <a:pt x="272" y="530"/>
                  <a:pt x="259" y="530"/>
                  <a:pt x="251" y="522"/>
                </a:cubicBezTo>
                <a:cubicBezTo>
                  <a:pt x="8" y="280"/>
                  <a:pt x="8" y="280"/>
                  <a:pt x="8" y="280"/>
                </a:cubicBezTo>
                <a:cubicBezTo>
                  <a:pt x="0" y="272"/>
                  <a:pt x="0" y="258"/>
                  <a:pt x="8" y="250"/>
                </a:cubicBezTo>
                <a:cubicBezTo>
                  <a:pt x="251" y="8"/>
                  <a:pt x="251" y="8"/>
                  <a:pt x="251" y="8"/>
                </a:cubicBezTo>
                <a:cubicBezTo>
                  <a:pt x="259" y="0"/>
                  <a:pt x="272" y="0"/>
                  <a:pt x="280" y="8"/>
                </a:cubicBezTo>
                <a:cubicBezTo>
                  <a:pt x="335" y="62"/>
                  <a:pt x="335" y="62"/>
                  <a:pt x="335" y="62"/>
                </a:cubicBezTo>
                <a:cubicBezTo>
                  <a:pt x="343" y="70"/>
                  <a:pt x="343" y="83"/>
                  <a:pt x="335" y="91"/>
                </a:cubicBezTo>
                <a:lnTo>
                  <a:pt x="161" y="26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66B664D-F2CB-4945-86F5-9E40248E682E}"/>
              </a:ext>
            </a:extLst>
          </p:cNvPr>
          <p:cNvSpPr/>
          <p:nvPr/>
        </p:nvSpPr>
        <p:spPr>
          <a:xfrm>
            <a:off x="4355058" y="5541969"/>
            <a:ext cx="1544817" cy="33008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Montserrat" panose="00000500000000000000" pitchFamily="2" charset="0"/>
              </a:rPr>
              <a:t>About 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79A4A32-10E4-4EC2-AE25-C9EA357AF46D}"/>
              </a:ext>
            </a:extLst>
          </p:cNvPr>
          <p:cNvSpPr/>
          <p:nvPr/>
        </p:nvSpPr>
        <p:spPr>
          <a:xfrm>
            <a:off x="5899875" y="5541968"/>
            <a:ext cx="1577796" cy="33008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Montserrat" panose="00000500000000000000" pitchFamily="2" charset="0"/>
              </a:rPr>
              <a:t>Looking for</a:t>
            </a:r>
          </a:p>
        </p:txBody>
      </p:sp>
    </p:spTree>
    <p:extLst>
      <p:ext uri="{BB962C8B-B14F-4D97-AF65-F5344CB8AC3E}">
        <p14:creationId xmlns:p14="http://schemas.microsoft.com/office/powerpoint/2010/main" val="4623776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BE1A15C4-4319-44F8-BED0-BF223C1557D2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BEB3F7C-BD39-4C95-8820-988EB706C303}"/>
              </a:ext>
            </a:extLst>
          </p:cNvPr>
          <p:cNvSpPr/>
          <p:nvPr/>
        </p:nvSpPr>
        <p:spPr>
          <a:xfrm>
            <a:off x="4173376" y="1952910"/>
            <a:ext cx="3453210" cy="970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0: Overview page of my matche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5F73B77-9BA3-4FC8-942C-59D8039F784D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806">
            <a:extLst>
              <a:ext uri="{FF2B5EF4-FFF2-40B4-BE49-F238E27FC236}">
                <a16:creationId xmlns:a16="http://schemas.microsoft.com/office/drawing/2014/main" id="{CE174B8B-A958-479C-AB1C-4692BD889A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1380">
            <a:extLst>
              <a:ext uri="{FF2B5EF4-FFF2-40B4-BE49-F238E27FC236}">
                <a16:creationId xmlns:a16="http://schemas.microsoft.com/office/drawing/2014/main" id="{6CD4078B-1E8F-42F7-9517-C9A36C3ADC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FB3641E-ABAE-49C5-82C0-964D08A18201}"/>
              </a:ext>
            </a:extLst>
          </p:cNvPr>
          <p:cNvGrpSpPr/>
          <p:nvPr/>
        </p:nvGrpSpPr>
        <p:grpSpPr>
          <a:xfrm>
            <a:off x="5492679" y="1146393"/>
            <a:ext cx="735241" cy="418511"/>
            <a:chOff x="8597394" y="2882013"/>
            <a:chExt cx="960944" cy="54698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0D25E18-FEDE-4B90-B3DD-A10B67469022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C0991E-6555-470D-A8C6-BA286D250192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221E14F9-84B5-4B37-8A3A-D46A030B444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400A6D8-30C4-4C77-8984-70D891AB577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8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040C6AB0-A6CF-48A0-8E83-5ED3002DB2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3BC3D70C-C265-4CB9-9E9A-74A5581656CD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5D4EE18D-2BD5-433A-8674-72BB83D5EF75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8DC0C7-F806-452B-B271-65F6F8FD7A7E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Fat Fox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9723CE-F17B-4730-AFD5-00FEC29AC3B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631FAA6-6AF6-4761-A437-188B41015A14}"/>
              </a:ext>
            </a:extLst>
          </p:cNvPr>
          <p:cNvSpPr txBox="1"/>
          <p:nvPr/>
        </p:nvSpPr>
        <p:spPr>
          <a:xfrm>
            <a:off x="4131202" y="1659164"/>
            <a:ext cx="3540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New Match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EAA0729-813A-4B3D-B41E-DE2FAB3C9193}"/>
              </a:ext>
            </a:extLst>
          </p:cNvPr>
          <p:cNvSpPr txBox="1"/>
          <p:nvPr/>
        </p:nvSpPr>
        <p:spPr>
          <a:xfrm>
            <a:off x="4361069" y="2595174"/>
            <a:ext cx="5673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ok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F6D1EB5-5139-4BCB-B625-6D52BB4B518D}"/>
              </a:ext>
            </a:extLst>
          </p:cNvPr>
          <p:cNvSpPr/>
          <p:nvPr/>
        </p:nvSpPr>
        <p:spPr>
          <a:xfrm>
            <a:off x="7243678" y="1163793"/>
            <a:ext cx="120375" cy="120375"/>
          </a:xfrm>
          <a:prstGeom prst="ellipse">
            <a:avLst/>
          </a:prstGeom>
          <a:solidFill>
            <a:srgbClr val="C8AA6E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1BCAC55-74A1-402A-953E-42BC62F63B9E}"/>
              </a:ext>
            </a:extLst>
          </p:cNvPr>
          <p:cNvGrpSpPr/>
          <p:nvPr/>
        </p:nvGrpSpPr>
        <p:grpSpPr>
          <a:xfrm>
            <a:off x="4380357" y="2043684"/>
            <a:ext cx="528752" cy="528752"/>
            <a:chOff x="4301585" y="1993350"/>
            <a:chExt cx="528752" cy="52875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D7882760-0C98-4C65-83CC-431BF5CBC48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6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ECFF65AA-F9AC-45B8-BCC3-98012BA98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F333723-00B4-4494-98C3-B3562B8ECE46}"/>
              </a:ext>
            </a:extLst>
          </p:cNvPr>
          <p:cNvGrpSpPr/>
          <p:nvPr/>
        </p:nvGrpSpPr>
        <p:grpSpPr>
          <a:xfrm>
            <a:off x="5008489" y="2043684"/>
            <a:ext cx="528752" cy="528752"/>
            <a:chOff x="4966407" y="1993350"/>
            <a:chExt cx="528752" cy="528752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D4D78BD-48CB-4385-A487-F6612D6BF2D0}"/>
                </a:ext>
              </a:extLst>
            </p:cNvPr>
            <p:cNvSpPr/>
            <p:nvPr/>
          </p:nvSpPr>
          <p:spPr>
            <a:xfrm>
              <a:off x="4966407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 descr="Category:Role icons | League of Legends Wiki | Fandom">
              <a:extLst>
                <a:ext uri="{FF2B5EF4-FFF2-40B4-BE49-F238E27FC236}">
                  <a16:creationId xmlns:a16="http://schemas.microsoft.com/office/drawing/2014/main" id="{517C3EED-4A17-473F-9980-72BEAD4E0A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035" y="2056845"/>
              <a:ext cx="396580" cy="396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D02F3F2-EE5E-40CA-8DAB-D55DA999905F}"/>
              </a:ext>
            </a:extLst>
          </p:cNvPr>
          <p:cNvGrpSpPr/>
          <p:nvPr/>
        </p:nvGrpSpPr>
        <p:grpSpPr>
          <a:xfrm>
            <a:off x="6892883" y="2043684"/>
            <a:ext cx="528752" cy="528752"/>
            <a:chOff x="6960872" y="1993350"/>
            <a:chExt cx="528752" cy="528752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55AB5FB9-427D-41AB-A4EF-C7C77A0E4BFB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8FF18D9E-6F8B-4F21-A1A0-B303791934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0" name="Oval 69">
            <a:extLst>
              <a:ext uri="{FF2B5EF4-FFF2-40B4-BE49-F238E27FC236}">
                <a16:creationId xmlns:a16="http://schemas.microsoft.com/office/drawing/2014/main" id="{3537676C-2B5B-410B-99C2-AE00933B42D7}"/>
              </a:ext>
            </a:extLst>
          </p:cNvPr>
          <p:cNvSpPr/>
          <p:nvPr/>
        </p:nvSpPr>
        <p:spPr>
          <a:xfrm>
            <a:off x="6264752" y="2043684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AC5E6AE-CAE0-4708-BB85-280A091D9A5A}"/>
              </a:ext>
            </a:extLst>
          </p:cNvPr>
          <p:cNvGrpSpPr/>
          <p:nvPr/>
        </p:nvGrpSpPr>
        <p:grpSpPr>
          <a:xfrm>
            <a:off x="5636621" y="2043684"/>
            <a:ext cx="528752" cy="528752"/>
            <a:chOff x="5631229" y="1993350"/>
            <a:chExt cx="528752" cy="528752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E2828DB-6E02-4255-B426-F05F92CF6DC2}"/>
                </a:ext>
              </a:extLst>
            </p:cNvPr>
            <p:cNvSpPr/>
            <p:nvPr/>
          </p:nvSpPr>
          <p:spPr>
            <a:xfrm>
              <a:off x="5631229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4" name="Picture 10" descr="Jungle - Discord Emoji">
              <a:extLst>
                <a:ext uri="{FF2B5EF4-FFF2-40B4-BE49-F238E27FC236}">
                  <a16:creationId xmlns:a16="http://schemas.microsoft.com/office/drawing/2014/main" id="{D04D2240-7107-4522-9C37-7750D0F9A3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6602" y="2038722"/>
              <a:ext cx="438007" cy="438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A0EE1A4-78E3-4BDC-B3F3-07552CB331BA}"/>
              </a:ext>
            </a:extLst>
          </p:cNvPr>
          <p:cNvSpPr txBox="1"/>
          <p:nvPr/>
        </p:nvSpPr>
        <p:spPr>
          <a:xfrm>
            <a:off x="7802859" y="6085320"/>
            <a:ext cx="1678853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New chat + Search with filter function</a:t>
            </a:r>
          </a:p>
        </p:txBody>
      </p:sp>
      <p:sp>
        <p:nvSpPr>
          <p:cNvPr id="67" name="Arrow: Chevron 66">
            <a:extLst>
              <a:ext uri="{FF2B5EF4-FFF2-40B4-BE49-F238E27FC236}">
                <a16:creationId xmlns:a16="http://schemas.microsoft.com/office/drawing/2014/main" id="{B183D61C-DB8D-4309-AEC7-1E4389D026CB}"/>
              </a:ext>
            </a:extLst>
          </p:cNvPr>
          <p:cNvSpPr/>
          <p:nvPr/>
        </p:nvSpPr>
        <p:spPr>
          <a:xfrm>
            <a:off x="7479926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id="{C645FD19-9871-478A-9FE0-095F092A3D0E}"/>
              </a:ext>
            </a:extLst>
          </p:cNvPr>
          <p:cNvSpPr/>
          <p:nvPr/>
        </p:nvSpPr>
        <p:spPr>
          <a:xfrm rot="10800000">
            <a:off x="4184387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F60C633-C891-49B5-A3DD-E44D711BC15E}"/>
              </a:ext>
            </a:extLst>
          </p:cNvPr>
          <p:cNvSpPr txBox="1"/>
          <p:nvPr/>
        </p:nvSpPr>
        <p:spPr>
          <a:xfrm>
            <a:off x="4925219" y="2595174"/>
            <a:ext cx="6952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Magico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17D59B8-BBF4-4454-AE70-F0DCCCFB5715}"/>
              </a:ext>
            </a:extLst>
          </p:cNvPr>
          <p:cNvSpPr txBox="1"/>
          <p:nvPr/>
        </p:nvSpPr>
        <p:spPr>
          <a:xfrm>
            <a:off x="553884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unglebo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CF8D878-B6A5-400F-8E30-4DF832FFAB00}"/>
              </a:ext>
            </a:extLst>
          </p:cNvPr>
          <p:cNvSpPr txBox="1"/>
          <p:nvPr/>
        </p:nvSpPr>
        <p:spPr>
          <a:xfrm>
            <a:off x="6166976" y="2595174"/>
            <a:ext cx="7243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Team SoloMid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FB38C39-B62C-4732-A6D3-2E2505C93879}"/>
              </a:ext>
            </a:extLst>
          </p:cNvPr>
          <p:cNvSpPr txBox="1"/>
          <p:nvPr/>
        </p:nvSpPr>
        <p:spPr>
          <a:xfrm>
            <a:off x="6795108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Blitz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EC81ECA-896E-4EF3-967B-AAEFA34E7542}"/>
              </a:ext>
            </a:extLst>
          </p:cNvPr>
          <p:cNvGrpSpPr/>
          <p:nvPr/>
        </p:nvGrpSpPr>
        <p:grpSpPr>
          <a:xfrm>
            <a:off x="4380357" y="3677348"/>
            <a:ext cx="528752" cy="528752"/>
            <a:chOff x="4301585" y="1993350"/>
            <a:chExt cx="528752" cy="528752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BDE8FF1-BE69-419A-82D4-B4A5955AD42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1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B106BD52-F292-4844-85AB-6CADFE65F4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136B307-3888-4097-94CE-39617BAC6504}"/>
              </a:ext>
            </a:extLst>
          </p:cNvPr>
          <p:cNvGrpSpPr/>
          <p:nvPr/>
        </p:nvGrpSpPr>
        <p:grpSpPr>
          <a:xfrm>
            <a:off x="4380357" y="5020924"/>
            <a:ext cx="528752" cy="528752"/>
            <a:chOff x="6960872" y="1993350"/>
            <a:chExt cx="528752" cy="528752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1AC109A-0686-4AFC-A506-5D0B9BCAC3D8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4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9432E971-C486-4F1C-BE75-DC507CDC74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02E3BB6D-AB32-4874-940B-D88C4F080CF3}"/>
              </a:ext>
            </a:extLst>
          </p:cNvPr>
          <p:cNvGrpSpPr/>
          <p:nvPr/>
        </p:nvGrpSpPr>
        <p:grpSpPr>
          <a:xfrm>
            <a:off x="4380357" y="4349136"/>
            <a:ext cx="528752" cy="528752"/>
            <a:chOff x="6296051" y="1993350"/>
            <a:chExt cx="528752" cy="528752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2BA0873A-C687-4005-81F1-40285512ED6F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7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58BD5C43-5F11-4C34-AA90-858CDD0F5A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B25CA57-C098-43B8-B741-121DB2E28BDE}"/>
              </a:ext>
            </a:extLst>
          </p:cNvPr>
          <p:cNvGrpSpPr/>
          <p:nvPr/>
        </p:nvGrpSpPr>
        <p:grpSpPr>
          <a:xfrm>
            <a:off x="4979637" y="3730509"/>
            <a:ext cx="2441998" cy="422430"/>
            <a:chOff x="4928694" y="3421685"/>
            <a:chExt cx="696819" cy="422430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91370BD-C165-4258-8261-86C000EF0E5A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Fakerlol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415E400-843A-48A0-ABB4-2E6F48102D67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Hey yo!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C417DF6-EEA1-4285-A62C-DCCE74A1B8DC}"/>
              </a:ext>
            </a:extLst>
          </p:cNvPr>
          <p:cNvGrpSpPr/>
          <p:nvPr/>
        </p:nvGrpSpPr>
        <p:grpSpPr>
          <a:xfrm>
            <a:off x="4979637" y="4402297"/>
            <a:ext cx="2436647" cy="422430"/>
            <a:chOff x="4928694" y="3421685"/>
            <a:chExt cx="696819" cy="422430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C855A7D-620A-41A4-9D4C-5A220CF05BEB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Bjergsen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740FA77-49AF-4B0F-9A35-13678B1C2EA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e I am down for...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AA295E4-5423-4164-9E49-F8EE4156F451}"/>
              </a:ext>
            </a:extLst>
          </p:cNvPr>
          <p:cNvGrpSpPr/>
          <p:nvPr/>
        </p:nvGrpSpPr>
        <p:grpSpPr>
          <a:xfrm>
            <a:off x="4979637" y="5074085"/>
            <a:ext cx="2441998" cy="422430"/>
            <a:chOff x="4928694" y="3421685"/>
            <a:chExt cx="696819" cy="422430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ACF0164-6A45-4953-A103-64DF891D1669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Rekkles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F1D1048-6602-4FDF-AF37-E391EC93C3F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ou down for ...</a:t>
              </a:r>
            </a:p>
          </p:txBody>
        </p:sp>
      </p:grpSp>
      <p:sp>
        <p:nvSpPr>
          <p:cNvPr id="63" name="Oval 62">
            <a:extLst>
              <a:ext uri="{FF2B5EF4-FFF2-40B4-BE49-F238E27FC236}">
                <a16:creationId xmlns:a16="http://schemas.microsoft.com/office/drawing/2014/main" id="{08B0BF52-182A-467A-A694-FFF1F202FE81}"/>
              </a:ext>
            </a:extLst>
          </p:cNvPr>
          <p:cNvSpPr/>
          <p:nvPr/>
        </p:nvSpPr>
        <p:spPr>
          <a:xfrm>
            <a:off x="4763811" y="3672708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491D11-444D-44A2-A05E-FA1AB3F572BB}"/>
              </a:ext>
            </a:extLst>
          </p:cNvPr>
          <p:cNvSpPr/>
          <p:nvPr/>
        </p:nvSpPr>
        <p:spPr>
          <a:xfrm>
            <a:off x="4763811" y="5013897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20DE401-E7AC-4BAC-9C65-F6A837421BF5}"/>
              </a:ext>
            </a:extLst>
          </p:cNvPr>
          <p:cNvSpPr/>
          <p:nvPr/>
        </p:nvSpPr>
        <p:spPr>
          <a:xfrm>
            <a:off x="4763811" y="431849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53461C11-DC8A-4A08-A1C9-53E11DAA1655}"/>
              </a:ext>
            </a:extLst>
          </p:cNvPr>
          <p:cNvGrpSpPr/>
          <p:nvPr/>
        </p:nvGrpSpPr>
        <p:grpSpPr>
          <a:xfrm>
            <a:off x="4383920" y="5702356"/>
            <a:ext cx="528752" cy="528752"/>
            <a:chOff x="6296051" y="1993350"/>
            <a:chExt cx="528752" cy="528752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77D4D68D-4410-4080-933E-952A98055B8C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7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13FC0A49-B559-471D-8E0E-EAEA0E0B76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EB76E4E-9392-4F98-92A7-F0312E394987}"/>
              </a:ext>
            </a:extLst>
          </p:cNvPr>
          <p:cNvGrpSpPr/>
          <p:nvPr/>
        </p:nvGrpSpPr>
        <p:grpSpPr>
          <a:xfrm>
            <a:off x="4983200" y="5755517"/>
            <a:ext cx="2436647" cy="422430"/>
            <a:chOff x="4928694" y="3421685"/>
            <a:chExt cx="696819" cy="422430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295934A1-58D6-4F43-8D8B-E5D0879528D5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Bjergsen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1775A62C-D67F-465F-900A-E078295DDF41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e I am down for ...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6D2E38DF-3F69-43CE-868B-21DDC6F3AB31}"/>
              </a:ext>
            </a:extLst>
          </p:cNvPr>
          <p:cNvSpPr/>
          <p:nvPr/>
        </p:nvSpPr>
        <p:spPr>
          <a:xfrm>
            <a:off x="4767374" y="567171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BC4ADC97-EF6C-4506-AC6B-427C861DFE00}"/>
              </a:ext>
            </a:extLst>
          </p:cNvPr>
          <p:cNvSpPr/>
          <p:nvPr/>
        </p:nvSpPr>
        <p:spPr>
          <a:xfrm>
            <a:off x="4488753" y="305320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Duo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E80CA601-BC6E-47B7-8214-73A46421E4F2}"/>
              </a:ext>
            </a:extLst>
          </p:cNvPr>
          <p:cNvSpPr/>
          <p:nvPr/>
        </p:nvSpPr>
        <p:spPr>
          <a:xfrm>
            <a:off x="5950993" y="305320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9C55F86F-DD64-4E57-9B9A-5684B8AB9DA6}"/>
              </a:ext>
            </a:extLst>
          </p:cNvPr>
          <p:cNvSpPr/>
          <p:nvPr/>
        </p:nvSpPr>
        <p:spPr>
          <a:xfrm>
            <a:off x="5950993" y="3045584"/>
            <a:ext cx="1409585" cy="486154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D49EBC8C-56F1-43AB-9385-6AD5F1C9A326}"/>
              </a:ext>
            </a:extLst>
          </p:cNvPr>
          <p:cNvGrpSpPr/>
          <p:nvPr/>
        </p:nvGrpSpPr>
        <p:grpSpPr>
          <a:xfrm>
            <a:off x="6878957" y="6001738"/>
            <a:ext cx="528752" cy="528752"/>
            <a:chOff x="2921677" y="5396943"/>
            <a:chExt cx="528752" cy="528752"/>
          </a:xfrm>
        </p:grpSpPr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5F5E989C-AFE2-4847-8D2B-925C4A594B08}"/>
                </a:ext>
              </a:extLst>
            </p:cNvPr>
            <p:cNvSpPr/>
            <p:nvPr/>
          </p:nvSpPr>
          <p:spPr>
            <a:xfrm>
              <a:off x="2921677" y="5396943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B1F7C457-0FF7-4D0C-9A80-E8D78124C521}"/>
                </a:ext>
              </a:extLst>
            </p:cNvPr>
            <p:cNvGrpSpPr/>
            <p:nvPr/>
          </p:nvGrpSpPr>
          <p:grpSpPr>
            <a:xfrm>
              <a:off x="3036997" y="5512263"/>
              <a:ext cx="298112" cy="298112"/>
              <a:chOff x="9507091" y="2579709"/>
              <a:chExt cx="241926" cy="241926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BC674CC7-33ED-441A-B739-426C89642489}"/>
                  </a:ext>
                </a:extLst>
              </p:cNvPr>
              <p:cNvSpPr/>
              <p:nvPr/>
            </p:nvSpPr>
            <p:spPr>
              <a:xfrm>
                <a:off x="9507091" y="2579709"/>
                <a:ext cx="241926" cy="2419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Freeform 879">
                <a:extLst>
                  <a:ext uri="{FF2B5EF4-FFF2-40B4-BE49-F238E27FC236}">
                    <a16:creationId xmlns:a16="http://schemas.microsoft.com/office/drawing/2014/main" id="{9A140047-BDA0-4BD2-B98D-B286CD07C86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7091" y="2579709"/>
                <a:ext cx="241926" cy="241926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397 w 502"/>
                  <a:gd name="T11" fmla="*/ 230 h 502"/>
                  <a:gd name="T12" fmla="*/ 376 w 502"/>
                  <a:gd name="T13" fmla="*/ 209 h 502"/>
                  <a:gd name="T14" fmla="*/ 293 w 502"/>
                  <a:gd name="T15" fmla="*/ 209 h 502"/>
                  <a:gd name="T16" fmla="*/ 293 w 502"/>
                  <a:gd name="T17" fmla="*/ 125 h 502"/>
                  <a:gd name="T18" fmla="*/ 272 w 502"/>
                  <a:gd name="T19" fmla="*/ 104 h 502"/>
                  <a:gd name="T20" fmla="*/ 230 w 502"/>
                  <a:gd name="T21" fmla="*/ 104 h 502"/>
                  <a:gd name="T22" fmla="*/ 209 w 502"/>
                  <a:gd name="T23" fmla="*/ 125 h 502"/>
                  <a:gd name="T24" fmla="*/ 209 w 502"/>
                  <a:gd name="T25" fmla="*/ 209 h 502"/>
                  <a:gd name="T26" fmla="*/ 125 w 502"/>
                  <a:gd name="T27" fmla="*/ 209 h 502"/>
                  <a:gd name="T28" fmla="*/ 104 w 502"/>
                  <a:gd name="T29" fmla="*/ 230 h 502"/>
                  <a:gd name="T30" fmla="*/ 104 w 502"/>
                  <a:gd name="T31" fmla="*/ 272 h 502"/>
                  <a:gd name="T32" fmla="*/ 125 w 502"/>
                  <a:gd name="T33" fmla="*/ 293 h 502"/>
                  <a:gd name="T34" fmla="*/ 209 w 502"/>
                  <a:gd name="T35" fmla="*/ 293 h 502"/>
                  <a:gd name="T36" fmla="*/ 209 w 502"/>
                  <a:gd name="T37" fmla="*/ 376 h 502"/>
                  <a:gd name="T38" fmla="*/ 230 w 502"/>
                  <a:gd name="T39" fmla="*/ 397 h 502"/>
                  <a:gd name="T40" fmla="*/ 272 w 502"/>
                  <a:gd name="T41" fmla="*/ 397 h 502"/>
                  <a:gd name="T42" fmla="*/ 293 w 502"/>
                  <a:gd name="T43" fmla="*/ 376 h 502"/>
                  <a:gd name="T44" fmla="*/ 293 w 502"/>
                  <a:gd name="T45" fmla="*/ 293 h 502"/>
                  <a:gd name="T46" fmla="*/ 376 w 502"/>
                  <a:gd name="T47" fmla="*/ 293 h 502"/>
                  <a:gd name="T48" fmla="*/ 397 w 502"/>
                  <a:gd name="T49" fmla="*/ 272 h 502"/>
                  <a:gd name="T50" fmla="*/ 397 w 502"/>
                  <a:gd name="T51" fmla="*/ 23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2" y="502"/>
                      <a:pt x="0" y="389"/>
                      <a:pt x="0" y="251"/>
                    </a:cubicBezTo>
                    <a:cubicBezTo>
                      <a:pt x="0" y="112"/>
                      <a:pt x="112" y="0"/>
                      <a:pt x="251" y="0"/>
                    </a:cubicBezTo>
                    <a:cubicBezTo>
                      <a:pt x="389" y="0"/>
                      <a:pt x="502" y="112"/>
                      <a:pt x="502" y="251"/>
                    </a:cubicBezTo>
                    <a:cubicBezTo>
                      <a:pt x="502" y="389"/>
                      <a:pt x="389" y="502"/>
                      <a:pt x="251" y="502"/>
                    </a:cubicBezTo>
                    <a:close/>
                    <a:moveTo>
                      <a:pt x="397" y="230"/>
                    </a:moveTo>
                    <a:cubicBezTo>
                      <a:pt x="397" y="218"/>
                      <a:pt x="388" y="209"/>
                      <a:pt x="376" y="209"/>
                    </a:cubicBezTo>
                    <a:cubicBezTo>
                      <a:pt x="293" y="209"/>
                      <a:pt x="293" y="209"/>
                      <a:pt x="293" y="209"/>
                    </a:cubicBezTo>
                    <a:cubicBezTo>
                      <a:pt x="293" y="125"/>
                      <a:pt x="293" y="125"/>
                      <a:pt x="293" y="125"/>
                    </a:cubicBezTo>
                    <a:cubicBezTo>
                      <a:pt x="293" y="114"/>
                      <a:pt x="283" y="104"/>
                      <a:pt x="272" y="104"/>
                    </a:cubicBezTo>
                    <a:cubicBezTo>
                      <a:pt x="230" y="104"/>
                      <a:pt x="230" y="104"/>
                      <a:pt x="230" y="104"/>
                    </a:cubicBezTo>
                    <a:cubicBezTo>
                      <a:pt x="218" y="104"/>
                      <a:pt x="209" y="114"/>
                      <a:pt x="209" y="125"/>
                    </a:cubicBezTo>
                    <a:cubicBezTo>
                      <a:pt x="209" y="209"/>
                      <a:pt x="209" y="209"/>
                      <a:pt x="209" y="209"/>
                    </a:cubicBezTo>
                    <a:cubicBezTo>
                      <a:pt x="125" y="209"/>
                      <a:pt x="125" y="209"/>
                      <a:pt x="125" y="209"/>
                    </a:cubicBezTo>
                    <a:cubicBezTo>
                      <a:pt x="114" y="209"/>
                      <a:pt x="104" y="218"/>
                      <a:pt x="104" y="230"/>
                    </a:cubicBezTo>
                    <a:cubicBezTo>
                      <a:pt x="104" y="272"/>
                      <a:pt x="104" y="272"/>
                      <a:pt x="104" y="272"/>
                    </a:cubicBezTo>
                    <a:cubicBezTo>
                      <a:pt x="104" y="283"/>
                      <a:pt x="114" y="293"/>
                      <a:pt x="125" y="293"/>
                    </a:cubicBezTo>
                    <a:cubicBezTo>
                      <a:pt x="209" y="293"/>
                      <a:pt x="209" y="293"/>
                      <a:pt x="209" y="293"/>
                    </a:cubicBezTo>
                    <a:cubicBezTo>
                      <a:pt x="209" y="376"/>
                      <a:pt x="209" y="376"/>
                      <a:pt x="209" y="376"/>
                    </a:cubicBezTo>
                    <a:cubicBezTo>
                      <a:pt x="209" y="388"/>
                      <a:pt x="218" y="397"/>
                      <a:pt x="230" y="397"/>
                    </a:cubicBezTo>
                    <a:cubicBezTo>
                      <a:pt x="272" y="397"/>
                      <a:pt x="272" y="397"/>
                      <a:pt x="272" y="397"/>
                    </a:cubicBezTo>
                    <a:cubicBezTo>
                      <a:pt x="283" y="397"/>
                      <a:pt x="293" y="388"/>
                      <a:pt x="293" y="376"/>
                    </a:cubicBezTo>
                    <a:cubicBezTo>
                      <a:pt x="293" y="293"/>
                      <a:pt x="293" y="293"/>
                      <a:pt x="293" y="293"/>
                    </a:cubicBezTo>
                    <a:cubicBezTo>
                      <a:pt x="376" y="293"/>
                      <a:pt x="376" y="293"/>
                      <a:pt x="376" y="293"/>
                    </a:cubicBezTo>
                    <a:cubicBezTo>
                      <a:pt x="388" y="293"/>
                      <a:pt x="397" y="283"/>
                      <a:pt x="397" y="272"/>
                    </a:cubicBezTo>
                    <a:lnTo>
                      <a:pt x="397" y="2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5122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5125D0E0-8636-44E3-BC95-B2C0710F86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3787518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F87C656D-1028-497A-8F70-457D7A6278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4459306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3E7833E0-2113-4416-A223-30C0C36394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5131095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9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7077BE7B-DCF0-41CA-BEAE-FFC2CC80AB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5812526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Freeform 967">
            <a:extLst>
              <a:ext uri="{FF2B5EF4-FFF2-40B4-BE49-F238E27FC236}">
                <a16:creationId xmlns:a16="http://schemas.microsoft.com/office/drawing/2014/main" id="{BD21D7D5-AFC8-44AC-AA34-7B907801E71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73453" y="2170347"/>
            <a:ext cx="302587" cy="284249"/>
          </a:xfrm>
          <a:custGeom>
            <a:avLst/>
            <a:gdLst>
              <a:gd name="T0" fmla="*/ 108 w 629"/>
              <a:gd name="T1" fmla="*/ 334 h 585"/>
              <a:gd name="T2" fmla="*/ 64 w 629"/>
              <a:gd name="T3" fmla="*/ 334 h 585"/>
              <a:gd name="T4" fmla="*/ 1 w 629"/>
              <a:gd name="T5" fmla="*/ 282 h 585"/>
              <a:gd name="T6" fmla="*/ 41 w 629"/>
              <a:gd name="T7" fmla="*/ 167 h 585"/>
              <a:gd name="T8" fmla="*/ 126 w 629"/>
              <a:gd name="T9" fmla="*/ 195 h 585"/>
              <a:gd name="T10" fmla="*/ 170 w 629"/>
              <a:gd name="T11" fmla="*/ 187 h 585"/>
              <a:gd name="T12" fmla="*/ 168 w 629"/>
              <a:gd name="T13" fmla="*/ 209 h 585"/>
              <a:gd name="T14" fmla="*/ 194 w 629"/>
              <a:gd name="T15" fmla="*/ 293 h 585"/>
              <a:gd name="T16" fmla="*/ 108 w 629"/>
              <a:gd name="T17" fmla="*/ 334 h 585"/>
              <a:gd name="T18" fmla="*/ 126 w 629"/>
              <a:gd name="T19" fmla="*/ 167 h 585"/>
              <a:gd name="T20" fmla="*/ 43 w 629"/>
              <a:gd name="T21" fmla="*/ 83 h 585"/>
              <a:gd name="T22" fmla="*/ 126 w 629"/>
              <a:gd name="T23" fmla="*/ 0 h 585"/>
              <a:gd name="T24" fmla="*/ 210 w 629"/>
              <a:gd name="T25" fmla="*/ 83 h 585"/>
              <a:gd name="T26" fmla="*/ 126 w 629"/>
              <a:gd name="T27" fmla="*/ 167 h 585"/>
              <a:gd name="T28" fmla="*/ 457 w 629"/>
              <a:gd name="T29" fmla="*/ 585 h 585"/>
              <a:gd name="T30" fmla="*/ 172 w 629"/>
              <a:gd name="T31" fmla="*/ 585 h 585"/>
              <a:gd name="T32" fmla="*/ 84 w 629"/>
              <a:gd name="T33" fmla="*/ 501 h 585"/>
              <a:gd name="T34" fmla="*/ 197 w 629"/>
              <a:gd name="T35" fmla="*/ 313 h 585"/>
              <a:gd name="T36" fmla="*/ 314 w 629"/>
              <a:gd name="T37" fmla="*/ 359 h 585"/>
              <a:gd name="T38" fmla="*/ 431 w 629"/>
              <a:gd name="T39" fmla="*/ 313 h 585"/>
              <a:gd name="T40" fmla="*/ 544 w 629"/>
              <a:gd name="T41" fmla="*/ 501 h 585"/>
              <a:gd name="T42" fmla="*/ 457 w 629"/>
              <a:gd name="T43" fmla="*/ 585 h 585"/>
              <a:gd name="T44" fmla="*/ 314 w 629"/>
              <a:gd name="T45" fmla="*/ 334 h 585"/>
              <a:gd name="T46" fmla="*/ 189 w 629"/>
              <a:gd name="T47" fmla="*/ 209 h 585"/>
              <a:gd name="T48" fmla="*/ 314 w 629"/>
              <a:gd name="T49" fmla="*/ 83 h 585"/>
              <a:gd name="T50" fmla="*/ 440 w 629"/>
              <a:gd name="T51" fmla="*/ 209 h 585"/>
              <a:gd name="T52" fmla="*/ 314 w 629"/>
              <a:gd name="T53" fmla="*/ 334 h 585"/>
              <a:gd name="T54" fmla="*/ 503 w 629"/>
              <a:gd name="T55" fmla="*/ 167 h 585"/>
              <a:gd name="T56" fmla="*/ 419 w 629"/>
              <a:gd name="T57" fmla="*/ 83 h 585"/>
              <a:gd name="T58" fmla="*/ 503 w 629"/>
              <a:gd name="T59" fmla="*/ 0 h 585"/>
              <a:gd name="T60" fmla="*/ 586 w 629"/>
              <a:gd name="T61" fmla="*/ 83 h 585"/>
              <a:gd name="T62" fmla="*/ 503 w 629"/>
              <a:gd name="T63" fmla="*/ 167 h 585"/>
              <a:gd name="T64" fmla="*/ 565 w 629"/>
              <a:gd name="T65" fmla="*/ 334 h 585"/>
              <a:gd name="T66" fmla="*/ 521 w 629"/>
              <a:gd name="T67" fmla="*/ 334 h 585"/>
              <a:gd name="T68" fmla="*/ 434 w 629"/>
              <a:gd name="T69" fmla="*/ 293 h 585"/>
              <a:gd name="T70" fmla="*/ 461 w 629"/>
              <a:gd name="T71" fmla="*/ 209 h 585"/>
              <a:gd name="T72" fmla="*/ 459 w 629"/>
              <a:gd name="T73" fmla="*/ 187 h 585"/>
              <a:gd name="T74" fmla="*/ 503 w 629"/>
              <a:gd name="T75" fmla="*/ 195 h 585"/>
              <a:gd name="T76" fmla="*/ 588 w 629"/>
              <a:gd name="T77" fmla="*/ 167 h 585"/>
              <a:gd name="T78" fmla="*/ 628 w 629"/>
              <a:gd name="T79" fmla="*/ 282 h 585"/>
              <a:gd name="T80" fmla="*/ 565 w 629"/>
              <a:gd name="T81" fmla="*/ 33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29" h="585">
                <a:moveTo>
                  <a:pt x="108" y="334"/>
                </a:moveTo>
                <a:cubicBezTo>
                  <a:pt x="64" y="334"/>
                  <a:pt x="64" y="334"/>
                  <a:pt x="64" y="334"/>
                </a:cubicBezTo>
                <a:cubicBezTo>
                  <a:pt x="31" y="334"/>
                  <a:pt x="1" y="319"/>
                  <a:pt x="1" y="282"/>
                </a:cubicBezTo>
                <a:cubicBezTo>
                  <a:pt x="1" y="256"/>
                  <a:pt x="0" y="167"/>
                  <a:pt x="41" y="167"/>
                </a:cubicBezTo>
                <a:cubicBezTo>
                  <a:pt x="48" y="167"/>
                  <a:pt x="82" y="195"/>
                  <a:pt x="126" y="195"/>
                </a:cubicBezTo>
                <a:cubicBezTo>
                  <a:pt x="141" y="195"/>
                  <a:pt x="156" y="192"/>
                  <a:pt x="170" y="187"/>
                </a:cubicBezTo>
                <a:cubicBezTo>
                  <a:pt x="169" y="195"/>
                  <a:pt x="168" y="202"/>
                  <a:pt x="168" y="209"/>
                </a:cubicBezTo>
                <a:cubicBezTo>
                  <a:pt x="168" y="239"/>
                  <a:pt x="177" y="268"/>
                  <a:pt x="194" y="293"/>
                </a:cubicBezTo>
                <a:cubicBezTo>
                  <a:pt x="160" y="294"/>
                  <a:pt x="130" y="308"/>
                  <a:pt x="108" y="334"/>
                </a:cubicBezTo>
                <a:close/>
                <a:moveTo>
                  <a:pt x="126" y="167"/>
                </a:moveTo>
                <a:cubicBezTo>
                  <a:pt x="80" y="167"/>
                  <a:pt x="43" y="129"/>
                  <a:pt x="43" y="83"/>
                </a:cubicBezTo>
                <a:cubicBezTo>
                  <a:pt x="43" y="37"/>
                  <a:pt x="80" y="0"/>
                  <a:pt x="126" y="0"/>
                </a:cubicBezTo>
                <a:cubicBezTo>
                  <a:pt x="172" y="0"/>
                  <a:pt x="210" y="37"/>
                  <a:pt x="210" y="83"/>
                </a:cubicBezTo>
                <a:cubicBezTo>
                  <a:pt x="210" y="129"/>
                  <a:pt x="172" y="167"/>
                  <a:pt x="126" y="167"/>
                </a:cubicBezTo>
                <a:close/>
                <a:moveTo>
                  <a:pt x="457" y="585"/>
                </a:moveTo>
                <a:cubicBezTo>
                  <a:pt x="172" y="585"/>
                  <a:pt x="172" y="585"/>
                  <a:pt x="172" y="585"/>
                </a:cubicBezTo>
                <a:cubicBezTo>
                  <a:pt x="119" y="585"/>
                  <a:pt x="84" y="554"/>
                  <a:pt x="84" y="501"/>
                </a:cubicBezTo>
                <a:cubicBezTo>
                  <a:pt x="84" y="427"/>
                  <a:pt x="102" y="313"/>
                  <a:pt x="197" y="313"/>
                </a:cubicBezTo>
                <a:cubicBezTo>
                  <a:pt x="208" y="313"/>
                  <a:pt x="249" y="359"/>
                  <a:pt x="314" y="359"/>
                </a:cubicBezTo>
                <a:cubicBezTo>
                  <a:pt x="380" y="359"/>
                  <a:pt x="420" y="313"/>
                  <a:pt x="431" y="313"/>
                </a:cubicBezTo>
                <a:cubicBezTo>
                  <a:pt x="527" y="313"/>
                  <a:pt x="544" y="427"/>
                  <a:pt x="544" y="501"/>
                </a:cubicBezTo>
                <a:cubicBezTo>
                  <a:pt x="544" y="554"/>
                  <a:pt x="509" y="585"/>
                  <a:pt x="457" y="585"/>
                </a:cubicBezTo>
                <a:close/>
                <a:moveTo>
                  <a:pt x="314" y="334"/>
                </a:moveTo>
                <a:cubicBezTo>
                  <a:pt x="245" y="334"/>
                  <a:pt x="189" y="278"/>
                  <a:pt x="189" y="209"/>
                </a:cubicBezTo>
                <a:cubicBezTo>
                  <a:pt x="189" y="140"/>
                  <a:pt x="245" y="83"/>
                  <a:pt x="314" y="83"/>
                </a:cubicBezTo>
                <a:cubicBezTo>
                  <a:pt x="384" y="83"/>
                  <a:pt x="440" y="140"/>
                  <a:pt x="440" y="209"/>
                </a:cubicBezTo>
                <a:cubicBezTo>
                  <a:pt x="440" y="278"/>
                  <a:pt x="384" y="334"/>
                  <a:pt x="314" y="334"/>
                </a:cubicBezTo>
                <a:close/>
                <a:moveTo>
                  <a:pt x="503" y="167"/>
                </a:moveTo>
                <a:cubicBezTo>
                  <a:pt x="456" y="167"/>
                  <a:pt x="419" y="129"/>
                  <a:pt x="419" y="83"/>
                </a:cubicBezTo>
                <a:cubicBezTo>
                  <a:pt x="419" y="37"/>
                  <a:pt x="456" y="0"/>
                  <a:pt x="503" y="0"/>
                </a:cubicBezTo>
                <a:cubicBezTo>
                  <a:pt x="549" y="0"/>
                  <a:pt x="586" y="37"/>
                  <a:pt x="586" y="83"/>
                </a:cubicBezTo>
                <a:cubicBezTo>
                  <a:pt x="586" y="129"/>
                  <a:pt x="549" y="167"/>
                  <a:pt x="503" y="167"/>
                </a:cubicBezTo>
                <a:close/>
                <a:moveTo>
                  <a:pt x="565" y="334"/>
                </a:moveTo>
                <a:cubicBezTo>
                  <a:pt x="521" y="334"/>
                  <a:pt x="521" y="334"/>
                  <a:pt x="521" y="334"/>
                </a:cubicBezTo>
                <a:cubicBezTo>
                  <a:pt x="499" y="308"/>
                  <a:pt x="468" y="294"/>
                  <a:pt x="434" y="293"/>
                </a:cubicBezTo>
                <a:cubicBezTo>
                  <a:pt x="451" y="268"/>
                  <a:pt x="461" y="239"/>
                  <a:pt x="461" y="209"/>
                </a:cubicBezTo>
                <a:cubicBezTo>
                  <a:pt x="461" y="202"/>
                  <a:pt x="460" y="195"/>
                  <a:pt x="459" y="187"/>
                </a:cubicBezTo>
                <a:cubicBezTo>
                  <a:pt x="473" y="192"/>
                  <a:pt x="488" y="195"/>
                  <a:pt x="503" y="195"/>
                </a:cubicBezTo>
                <a:cubicBezTo>
                  <a:pt x="547" y="195"/>
                  <a:pt x="581" y="167"/>
                  <a:pt x="588" y="167"/>
                </a:cubicBezTo>
                <a:cubicBezTo>
                  <a:pt x="629" y="167"/>
                  <a:pt x="628" y="256"/>
                  <a:pt x="628" y="282"/>
                </a:cubicBezTo>
                <a:cubicBezTo>
                  <a:pt x="628" y="319"/>
                  <a:pt x="597" y="334"/>
                  <a:pt x="565" y="334"/>
                </a:cubicBezTo>
                <a:close/>
              </a:path>
            </a:pathLst>
          </a:custGeom>
          <a:solidFill>
            <a:srgbClr val="C8AA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BC17FD8E-6BFE-4E31-82B2-B747998AAF86}"/>
              </a:ext>
            </a:extLst>
          </p:cNvPr>
          <p:cNvSpPr/>
          <p:nvPr/>
        </p:nvSpPr>
        <p:spPr>
          <a:xfrm>
            <a:off x="6627744" y="2018741"/>
            <a:ext cx="120375" cy="120375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9016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84AA0C4-35DA-4B7D-8E4C-4801A24D0B54}"/>
              </a:ext>
            </a:extLst>
          </p:cNvPr>
          <p:cNvSpPr/>
          <p:nvPr/>
        </p:nvSpPr>
        <p:spPr>
          <a:xfrm>
            <a:off x="4127913" y="384689"/>
            <a:ext cx="3540026" cy="6473311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8D878-1F98-4B77-B1E3-7CD157211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/>
              <a:t>FF-12: Login Animation. </a:t>
            </a:r>
            <a:br>
              <a:rPr lang="en-US" sz="1600"/>
            </a:br>
            <a:r>
              <a:rPr lang="en-US" sz="1600"/>
              <a:t>Stickman meme fac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40E552B-FBA8-4BF3-8B58-858E613C5CA4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28AA366-EB1D-4A97-9E66-4189FADA9A6E}"/>
              </a:ext>
            </a:extLst>
          </p:cNvPr>
          <p:cNvSpPr txBox="1"/>
          <p:nvPr/>
        </p:nvSpPr>
        <p:spPr>
          <a:xfrm flipH="1">
            <a:off x="4949993" y="4039788"/>
            <a:ext cx="1781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FAT FOX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A9D46E-236B-4F90-BA2E-FE08D1913D26}"/>
              </a:ext>
            </a:extLst>
          </p:cNvPr>
          <p:cNvGrpSpPr/>
          <p:nvPr/>
        </p:nvGrpSpPr>
        <p:grpSpPr>
          <a:xfrm>
            <a:off x="5453806" y="3302982"/>
            <a:ext cx="773424" cy="773424"/>
            <a:chOff x="7889202" y="2616582"/>
            <a:chExt cx="676198" cy="67619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2E5C7BB-C45A-4CD6-BB23-F6A2B4CC5340}"/>
                </a:ext>
              </a:extLst>
            </p:cNvPr>
            <p:cNvSpPr/>
            <p:nvPr/>
          </p:nvSpPr>
          <p:spPr>
            <a:xfrm>
              <a:off x="7968344" y="2808515"/>
              <a:ext cx="505326" cy="1821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2" name="Picture 8" descr="Fun games joystick icon - Locations Redesign">
              <a:extLst>
                <a:ext uri="{FF2B5EF4-FFF2-40B4-BE49-F238E27FC236}">
                  <a16:creationId xmlns:a16="http://schemas.microsoft.com/office/drawing/2014/main" id="{E02C1183-A5A9-48B9-B877-034FCF10BA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9202" y="2616582"/>
              <a:ext cx="676198" cy="676198"/>
            </a:xfrm>
            <a:prstGeom prst="rect">
              <a:avLst/>
            </a:prstGeom>
            <a:noFill/>
          </p:spPr>
        </p:pic>
      </p:grpSp>
      <p:pic>
        <p:nvPicPr>
          <p:cNvPr id="2056" name="Picture 8" descr="Walking Stickman on Make a GIF">
            <a:extLst>
              <a:ext uri="{FF2B5EF4-FFF2-40B4-BE49-F238E27FC236}">
                <a16:creationId xmlns:a16="http://schemas.microsoft.com/office/drawing/2014/main" id="{6E522D85-9396-46AF-A881-240BA46DA675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6957" y="2160715"/>
            <a:ext cx="963748" cy="963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Jumping Stick Figure GIF | Gfycat">
            <a:extLst>
              <a:ext uri="{FF2B5EF4-FFF2-40B4-BE49-F238E27FC236}">
                <a16:creationId xmlns:a16="http://schemas.microsoft.com/office/drawing/2014/main" id="{DF8891B5-6A32-4C1D-80FE-E7D05AD2AE62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9117" y="2365992"/>
            <a:ext cx="553193" cy="553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Pin by Montserrat Inglada on Mario feest miguel | Super mario party, Mario  crafts, Mario bros">
            <a:extLst>
              <a:ext uri="{FF2B5EF4-FFF2-40B4-BE49-F238E27FC236}">
                <a16:creationId xmlns:a16="http://schemas.microsoft.com/office/drawing/2014/main" id="{1FC77117-FC45-4C36-96EC-653DD395F9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300" y="3011070"/>
            <a:ext cx="331872" cy="33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rc 6">
            <a:extLst>
              <a:ext uri="{FF2B5EF4-FFF2-40B4-BE49-F238E27FC236}">
                <a16:creationId xmlns:a16="http://schemas.microsoft.com/office/drawing/2014/main" id="{CCC3D081-EEAF-45ED-A04B-0FE157E8BD9B}"/>
              </a:ext>
            </a:extLst>
          </p:cNvPr>
          <p:cNvSpPr/>
          <p:nvPr/>
        </p:nvSpPr>
        <p:spPr>
          <a:xfrm rot="7167260">
            <a:off x="5406180" y="3258508"/>
            <a:ext cx="746153" cy="671963"/>
          </a:xfrm>
          <a:prstGeom prst="arc">
            <a:avLst>
              <a:gd name="adj1" fmla="val 17788439"/>
              <a:gd name="adj2" fmla="val 20564801"/>
            </a:avLst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41A8FF-1756-43C8-BACF-237DE507FE1C}"/>
              </a:ext>
            </a:extLst>
          </p:cNvPr>
          <p:cNvSpPr/>
          <p:nvPr/>
        </p:nvSpPr>
        <p:spPr>
          <a:xfrm>
            <a:off x="5481841" y="2281646"/>
            <a:ext cx="773424" cy="11473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657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  <p:bldP spid="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BE1A15C4-4319-44F8-BED0-BF223C1557D2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0: Overview page of my matche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5F73B77-9BA3-4FC8-942C-59D8039F784D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806">
            <a:extLst>
              <a:ext uri="{FF2B5EF4-FFF2-40B4-BE49-F238E27FC236}">
                <a16:creationId xmlns:a16="http://schemas.microsoft.com/office/drawing/2014/main" id="{CE174B8B-A958-479C-AB1C-4692BD889A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1380">
            <a:extLst>
              <a:ext uri="{FF2B5EF4-FFF2-40B4-BE49-F238E27FC236}">
                <a16:creationId xmlns:a16="http://schemas.microsoft.com/office/drawing/2014/main" id="{6CD4078B-1E8F-42F7-9517-C9A36C3ADC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FB3641E-ABAE-49C5-82C0-964D08A18201}"/>
              </a:ext>
            </a:extLst>
          </p:cNvPr>
          <p:cNvGrpSpPr/>
          <p:nvPr/>
        </p:nvGrpSpPr>
        <p:grpSpPr>
          <a:xfrm>
            <a:off x="5492679" y="1146393"/>
            <a:ext cx="735241" cy="418511"/>
            <a:chOff x="8597394" y="2882013"/>
            <a:chExt cx="960944" cy="54698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0D25E18-FEDE-4B90-B3DD-A10B67469022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C0991E-6555-470D-A8C6-BA286D250192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221E14F9-84B5-4B37-8A3A-D46A030B444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400A6D8-30C4-4C77-8984-70D891AB577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8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040C6AB0-A6CF-48A0-8E83-5ED3002DB2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3BC3D70C-C265-4CB9-9E9A-74A5581656CD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5D4EE18D-2BD5-433A-8674-72BB83D5EF75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8DC0C7-F806-452B-B271-65F6F8FD7A7E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Fat Fox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9723CE-F17B-4730-AFD5-00FEC29AC3B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631FAA6-6AF6-4761-A437-188B41015A14}"/>
              </a:ext>
            </a:extLst>
          </p:cNvPr>
          <p:cNvSpPr txBox="1"/>
          <p:nvPr/>
        </p:nvSpPr>
        <p:spPr>
          <a:xfrm>
            <a:off x="4131202" y="1659164"/>
            <a:ext cx="3540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New Matches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F6D1EB5-5139-4BCB-B625-6D52BB4B518D}"/>
              </a:ext>
            </a:extLst>
          </p:cNvPr>
          <p:cNvSpPr/>
          <p:nvPr/>
        </p:nvSpPr>
        <p:spPr>
          <a:xfrm>
            <a:off x="7243678" y="1163793"/>
            <a:ext cx="120375" cy="120375"/>
          </a:xfrm>
          <a:prstGeom prst="ellipse">
            <a:avLst/>
          </a:prstGeom>
          <a:solidFill>
            <a:srgbClr val="C8AA6E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A0EE1A4-78E3-4BDC-B3F3-07552CB331BA}"/>
              </a:ext>
            </a:extLst>
          </p:cNvPr>
          <p:cNvSpPr txBox="1"/>
          <p:nvPr/>
        </p:nvSpPr>
        <p:spPr>
          <a:xfrm>
            <a:off x="8758855" y="2859262"/>
            <a:ext cx="1678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3D1714F-2871-4535-A78B-63B6944FD42F}"/>
              </a:ext>
            </a:extLst>
          </p:cNvPr>
          <p:cNvSpPr txBox="1"/>
          <p:nvPr/>
        </p:nvSpPr>
        <p:spPr>
          <a:xfrm>
            <a:off x="10440997" y="2854075"/>
            <a:ext cx="177107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CF56635-4D5C-4749-A134-EE07A575755C}"/>
              </a:ext>
            </a:extLst>
          </p:cNvPr>
          <p:cNvSpPr/>
          <p:nvPr/>
        </p:nvSpPr>
        <p:spPr>
          <a:xfrm>
            <a:off x="4173376" y="1952910"/>
            <a:ext cx="3453210" cy="9705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AE954C9-E3AE-4443-9A91-5DD9A609B1C2}"/>
              </a:ext>
            </a:extLst>
          </p:cNvPr>
          <p:cNvSpPr txBox="1"/>
          <p:nvPr/>
        </p:nvSpPr>
        <p:spPr>
          <a:xfrm>
            <a:off x="4361069" y="2595174"/>
            <a:ext cx="5673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oker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BD5E5CF-91FE-4F49-9EAA-AB2B735D7D6B}"/>
              </a:ext>
            </a:extLst>
          </p:cNvPr>
          <p:cNvGrpSpPr/>
          <p:nvPr/>
        </p:nvGrpSpPr>
        <p:grpSpPr>
          <a:xfrm>
            <a:off x="4380357" y="2043684"/>
            <a:ext cx="528752" cy="528752"/>
            <a:chOff x="4301585" y="1993350"/>
            <a:chExt cx="528752" cy="528752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F041CA57-E8D2-43A4-96F5-19C957A40EDB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3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B335850F-E1F8-4E90-A970-EE0264E4FF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16C96D8-ED35-4C34-9327-E74CD8DDBCB4}"/>
              </a:ext>
            </a:extLst>
          </p:cNvPr>
          <p:cNvGrpSpPr/>
          <p:nvPr/>
        </p:nvGrpSpPr>
        <p:grpSpPr>
          <a:xfrm>
            <a:off x="5008489" y="2043684"/>
            <a:ext cx="528752" cy="528752"/>
            <a:chOff x="4966407" y="1993350"/>
            <a:chExt cx="528752" cy="528752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DEC26F8A-57EB-4554-A6BA-9AF4828BD37E}"/>
                </a:ext>
              </a:extLst>
            </p:cNvPr>
            <p:cNvSpPr/>
            <p:nvPr/>
          </p:nvSpPr>
          <p:spPr>
            <a:xfrm>
              <a:off x="4966407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6" name="Picture 4" descr="Category:Role icons | League of Legends Wiki | Fandom">
              <a:extLst>
                <a:ext uri="{FF2B5EF4-FFF2-40B4-BE49-F238E27FC236}">
                  <a16:creationId xmlns:a16="http://schemas.microsoft.com/office/drawing/2014/main" id="{FA95E3B0-F55A-4E43-AF91-B89435FADA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035" y="2056845"/>
              <a:ext cx="396580" cy="396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79C885FB-3E6D-43B9-87C8-7B7424A29D68}"/>
              </a:ext>
            </a:extLst>
          </p:cNvPr>
          <p:cNvGrpSpPr/>
          <p:nvPr/>
        </p:nvGrpSpPr>
        <p:grpSpPr>
          <a:xfrm>
            <a:off x="6892883" y="2043684"/>
            <a:ext cx="528752" cy="528752"/>
            <a:chOff x="6960872" y="1993350"/>
            <a:chExt cx="528752" cy="528752"/>
          </a:xfrm>
        </p:grpSpPr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28554462-48EC-4F1D-AD8B-27DA00E41574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9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2519346E-9C70-4C66-BD9C-7DD0219519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0" name="Oval 119">
            <a:extLst>
              <a:ext uri="{FF2B5EF4-FFF2-40B4-BE49-F238E27FC236}">
                <a16:creationId xmlns:a16="http://schemas.microsoft.com/office/drawing/2014/main" id="{9878FA68-E4DF-4D49-8541-B70DA7D17278}"/>
              </a:ext>
            </a:extLst>
          </p:cNvPr>
          <p:cNvSpPr/>
          <p:nvPr/>
        </p:nvSpPr>
        <p:spPr>
          <a:xfrm>
            <a:off x="6264752" y="2043684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AB0320B-1C07-478D-9330-72F142C8564C}"/>
              </a:ext>
            </a:extLst>
          </p:cNvPr>
          <p:cNvGrpSpPr/>
          <p:nvPr/>
        </p:nvGrpSpPr>
        <p:grpSpPr>
          <a:xfrm>
            <a:off x="5636621" y="2043684"/>
            <a:ext cx="528752" cy="528752"/>
            <a:chOff x="5631229" y="1993350"/>
            <a:chExt cx="528752" cy="528752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5D0009C4-8C16-488B-9724-B1D81D6AC486}"/>
                </a:ext>
              </a:extLst>
            </p:cNvPr>
            <p:cNvSpPr/>
            <p:nvPr/>
          </p:nvSpPr>
          <p:spPr>
            <a:xfrm>
              <a:off x="5631229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3" name="Picture 10" descr="Jungle - Discord Emoji">
              <a:extLst>
                <a:ext uri="{FF2B5EF4-FFF2-40B4-BE49-F238E27FC236}">
                  <a16:creationId xmlns:a16="http://schemas.microsoft.com/office/drawing/2014/main" id="{372E2C22-12C4-4E96-9948-EA1F0E373D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6602" y="2038722"/>
              <a:ext cx="438007" cy="438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4" name="Arrow: Chevron 123">
            <a:extLst>
              <a:ext uri="{FF2B5EF4-FFF2-40B4-BE49-F238E27FC236}">
                <a16:creationId xmlns:a16="http://schemas.microsoft.com/office/drawing/2014/main" id="{B5B7A5CF-138E-462C-92A3-09DEAB32AD5F}"/>
              </a:ext>
            </a:extLst>
          </p:cNvPr>
          <p:cNvSpPr/>
          <p:nvPr/>
        </p:nvSpPr>
        <p:spPr>
          <a:xfrm>
            <a:off x="7479926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5" name="Arrow: Chevron 124">
            <a:extLst>
              <a:ext uri="{FF2B5EF4-FFF2-40B4-BE49-F238E27FC236}">
                <a16:creationId xmlns:a16="http://schemas.microsoft.com/office/drawing/2014/main" id="{4D015F6B-9F24-49E6-BF6F-F569BB98205B}"/>
              </a:ext>
            </a:extLst>
          </p:cNvPr>
          <p:cNvSpPr/>
          <p:nvPr/>
        </p:nvSpPr>
        <p:spPr>
          <a:xfrm rot="10800000">
            <a:off x="4184387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312A9F1-5872-4B88-B9B8-D1F4474FE39F}"/>
              </a:ext>
            </a:extLst>
          </p:cNvPr>
          <p:cNvSpPr txBox="1"/>
          <p:nvPr/>
        </p:nvSpPr>
        <p:spPr>
          <a:xfrm>
            <a:off x="4925219" y="2595174"/>
            <a:ext cx="6952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Magico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498FE1C7-876B-43F8-BBAD-6C14B0EC0311}"/>
              </a:ext>
            </a:extLst>
          </p:cNvPr>
          <p:cNvSpPr txBox="1"/>
          <p:nvPr/>
        </p:nvSpPr>
        <p:spPr>
          <a:xfrm>
            <a:off x="553884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ungleboy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884E0E77-32B0-4072-AF2D-5D2ECD385FA5}"/>
              </a:ext>
            </a:extLst>
          </p:cNvPr>
          <p:cNvSpPr txBox="1"/>
          <p:nvPr/>
        </p:nvSpPr>
        <p:spPr>
          <a:xfrm>
            <a:off x="6166976" y="2595174"/>
            <a:ext cx="7243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Team SoloMi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3AEA8550-FCE7-431F-B8D5-5E13B37E6DA8}"/>
              </a:ext>
            </a:extLst>
          </p:cNvPr>
          <p:cNvSpPr txBox="1"/>
          <p:nvPr/>
        </p:nvSpPr>
        <p:spPr>
          <a:xfrm>
            <a:off x="6795108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Blitz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95873DCC-BB68-47D7-A2E3-4AF39DBB4B78}"/>
              </a:ext>
            </a:extLst>
          </p:cNvPr>
          <p:cNvSpPr/>
          <p:nvPr/>
        </p:nvSpPr>
        <p:spPr>
          <a:xfrm>
            <a:off x="4488753" y="305320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24E99AB7-9081-4BDE-A7DF-0119DD702C78}"/>
              </a:ext>
            </a:extLst>
          </p:cNvPr>
          <p:cNvSpPr/>
          <p:nvPr/>
        </p:nvSpPr>
        <p:spPr>
          <a:xfrm>
            <a:off x="5950993" y="305320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54875940-B525-4071-AA5C-A8CEA6445F42}"/>
              </a:ext>
            </a:extLst>
          </p:cNvPr>
          <p:cNvSpPr/>
          <p:nvPr/>
        </p:nvSpPr>
        <p:spPr>
          <a:xfrm>
            <a:off x="4488752" y="3054319"/>
            <a:ext cx="1409585" cy="486154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133" name="Freeform 967">
            <a:extLst>
              <a:ext uri="{FF2B5EF4-FFF2-40B4-BE49-F238E27FC236}">
                <a16:creationId xmlns:a16="http://schemas.microsoft.com/office/drawing/2014/main" id="{0BF10D61-5022-4F36-B170-1B29FB69E66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73453" y="2170347"/>
            <a:ext cx="302587" cy="284249"/>
          </a:xfrm>
          <a:custGeom>
            <a:avLst/>
            <a:gdLst>
              <a:gd name="T0" fmla="*/ 108 w 629"/>
              <a:gd name="T1" fmla="*/ 334 h 585"/>
              <a:gd name="T2" fmla="*/ 64 w 629"/>
              <a:gd name="T3" fmla="*/ 334 h 585"/>
              <a:gd name="T4" fmla="*/ 1 w 629"/>
              <a:gd name="T5" fmla="*/ 282 h 585"/>
              <a:gd name="T6" fmla="*/ 41 w 629"/>
              <a:gd name="T7" fmla="*/ 167 h 585"/>
              <a:gd name="T8" fmla="*/ 126 w 629"/>
              <a:gd name="T9" fmla="*/ 195 h 585"/>
              <a:gd name="T10" fmla="*/ 170 w 629"/>
              <a:gd name="T11" fmla="*/ 187 h 585"/>
              <a:gd name="T12" fmla="*/ 168 w 629"/>
              <a:gd name="T13" fmla="*/ 209 h 585"/>
              <a:gd name="T14" fmla="*/ 194 w 629"/>
              <a:gd name="T15" fmla="*/ 293 h 585"/>
              <a:gd name="T16" fmla="*/ 108 w 629"/>
              <a:gd name="T17" fmla="*/ 334 h 585"/>
              <a:gd name="T18" fmla="*/ 126 w 629"/>
              <a:gd name="T19" fmla="*/ 167 h 585"/>
              <a:gd name="T20" fmla="*/ 43 w 629"/>
              <a:gd name="T21" fmla="*/ 83 h 585"/>
              <a:gd name="T22" fmla="*/ 126 w 629"/>
              <a:gd name="T23" fmla="*/ 0 h 585"/>
              <a:gd name="T24" fmla="*/ 210 w 629"/>
              <a:gd name="T25" fmla="*/ 83 h 585"/>
              <a:gd name="T26" fmla="*/ 126 w 629"/>
              <a:gd name="T27" fmla="*/ 167 h 585"/>
              <a:gd name="T28" fmla="*/ 457 w 629"/>
              <a:gd name="T29" fmla="*/ 585 h 585"/>
              <a:gd name="T30" fmla="*/ 172 w 629"/>
              <a:gd name="T31" fmla="*/ 585 h 585"/>
              <a:gd name="T32" fmla="*/ 84 w 629"/>
              <a:gd name="T33" fmla="*/ 501 h 585"/>
              <a:gd name="T34" fmla="*/ 197 w 629"/>
              <a:gd name="T35" fmla="*/ 313 h 585"/>
              <a:gd name="T36" fmla="*/ 314 w 629"/>
              <a:gd name="T37" fmla="*/ 359 h 585"/>
              <a:gd name="T38" fmla="*/ 431 w 629"/>
              <a:gd name="T39" fmla="*/ 313 h 585"/>
              <a:gd name="T40" fmla="*/ 544 w 629"/>
              <a:gd name="T41" fmla="*/ 501 h 585"/>
              <a:gd name="T42" fmla="*/ 457 w 629"/>
              <a:gd name="T43" fmla="*/ 585 h 585"/>
              <a:gd name="T44" fmla="*/ 314 w 629"/>
              <a:gd name="T45" fmla="*/ 334 h 585"/>
              <a:gd name="T46" fmla="*/ 189 w 629"/>
              <a:gd name="T47" fmla="*/ 209 h 585"/>
              <a:gd name="T48" fmla="*/ 314 w 629"/>
              <a:gd name="T49" fmla="*/ 83 h 585"/>
              <a:gd name="T50" fmla="*/ 440 w 629"/>
              <a:gd name="T51" fmla="*/ 209 h 585"/>
              <a:gd name="T52" fmla="*/ 314 w 629"/>
              <a:gd name="T53" fmla="*/ 334 h 585"/>
              <a:gd name="T54" fmla="*/ 503 w 629"/>
              <a:gd name="T55" fmla="*/ 167 h 585"/>
              <a:gd name="T56" fmla="*/ 419 w 629"/>
              <a:gd name="T57" fmla="*/ 83 h 585"/>
              <a:gd name="T58" fmla="*/ 503 w 629"/>
              <a:gd name="T59" fmla="*/ 0 h 585"/>
              <a:gd name="T60" fmla="*/ 586 w 629"/>
              <a:gd name="T61" fmla="*/ 83 h 585"/>
              <a:gd name="T62" fmla="*/ 503 w 629"/>
              <a:gd name="T63" fmla="*/ 167 h 585"/>
              <a:gd name="T64" fmla="*/ 565 w 629"/>
              <a:gd name="T65" fmla="*/ 334 h 585"/>
              <a:gd name="T66" fmla="*/ 521 w 629"/>
              <a:gd name="T67" fmla="*/ 334 h 585"/>
              <a:gd name="T68" fmla="*/ 434 w 629"/>
              <a:gd name="T69" fmla="*/ 293 h 585"/>
              <a:gd name="T70" fmla="*/ 461 w 629"/>
              <a:gd name="T71" fmla="*/ 209 h 585"/>
              <a:gd name="T72" fmla="*/ 459 w 629"/>
              <a:gd name="T73" fmla="*/ 187 h 585"/>
              <a:gd name="T74" fmla="*/ 503 w 629"/>
              <a:gd name="T75" fmla="*/ 195 h 585"/>
              <a:gd name="T76" fmla="*/ 588 w 629"/>
              <a:gd name="T77" fmla="*/ 167 h 585"/>
              <a:gd name="T78" fmla="*/ 628 w 629"/>
              <a:gd name="T79" fmla="*/ 282 h 585"/>
              <a:gd name="T80" fmla="*/ 565 w 629"/>
              <a:gd name="T81" fmla="*/ 33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29" h="585">
                <a:moveTo>
                  <a:pt x="108" y="334"/>
                </a:moveTo>
                <a:cubicBezTo>
                  <a:pt x="64" y="334"/>
                  <a:pt x="64" y="334"/>
                  <a:pt x="64" y="334"/>
                </a:cubicBezTo>
                <a:cubicBezTo>
                  <a:pt x="31" y="334"/>
                  <a:pt x="1" y="319"/>
                  <a:pt x="1" y="282"/>
                </a:cubicBezTo>
                <a:cubicBezTo>
                  <a:pt x="1" y="256"/>
                  <a:pt x="0" y="167"/>
                  <a:pt x="41" y="167"/>
                </a:cubicBezTo>
                <a:cubicBezTo>
                  <a:pt x="48" y="167"/>
                  <a:pt x="82" y="195"/>
                  <a:pt x="126" y="195"/>
                </a:cubicBezTo>
                <a:cubicBezTo>
                  <a:pt x="141" y="195"/>
                  <a:pt x="156" y="192"/>
                  <a:pt x="170" y="187"/>
                </a:cubicBezTo>
                <a:cubicBezTo>
                  <a:pt x="169" y="195"/>
                  <a:pt x="168" y="202"/>
                  <a:pt x="168" y="209"/>
                </a:cubicBezTo>
                <a:cubicBezTo>
                  <a:pt x="168" y="239"/>
                  <a:pt x="177" y="268"/>
                  <a:pt x="194" y="293"/>
                </a:cubicBezTo>
                <a:cubicBezTo>
                  <a:pt x="160" y="294"/>
                  <a:pt x="130" y="308"/>
                  <a:pt x="108" y="334"/>
                </a:cubicBezTo>
                <a:close/>
                <a:moveTo>
                  <a:pt x="126" y="167"/>
                </a:moveTo>
                <a:cubicBezTo>
                  <a:pt x="80" y="167"/>
                  <a:pt x="43" y="129"/>
                  <a:pt x="43" y="83"/>
                </a:cubicBezTo>
                <a:cubicBezTo>
                  <a:pt x="43" y="37"/>
                  <a:pt x="80" y="0"/>
                  <a:pt x="126" y="0"/>
                </a:cubicBezTo>
                <a:cubicBezTo>
                  <a:pt x="172" y="0"/>
                  <a:pt x="210" y="37"/>
                  <a:pt x="210" y="83"/>
                </a:cubicBezTo>
                <a:cubicBezTo>
                  <a:pt x="210" y="129"/>
                  <a:pt x="172" y="167"/>
                  <a:pt x="126" y="167"/>
                </a:cubicBezTo>
                <a:close/>
                <a:moveTo>
                  <a:pt x="457" y="585"/>
                </a:moveTo>
                <a:cubicBezTo>
                  <a:pt x="172" y="585"/>
                  <a:pt x="172" y="585"/>
                  <a:pt x="172" y="585"/>
                </a:cubicBezTo>
                <a:cubicBezTo>
                  <a:pt x="119" y="585"/>
                  <a:pt x="84" y="554"/>
                  <a:pt x="84" y="501"/>
                </a:cubicBezTo>
                <a:cubicBezTo>
                  <a:pt x="84" y="427"/>
                  <a:pt x="102" y="313"/>
                  <a:pt x="197" y="313"/>
                </a:cubicBezTo>
                <a:cubicBezTo>
                  <a:pt x="208" y="313"/>
                  <a:pt x="249" y="359"/>
                  <a:pt x="314" y="359"/>
                </a:cubicBezTo>
                <a:cubicBezTo>
                  <a:pt x="380" y="359"/>
                  <a:pt x="420" y="313"/>
                  <a:pt x="431" y="313"/>
                </a:cubicBezTo>
                <a:cubicBezTo>
                  <a:pt x="527" y="313"/>
                  <a:pt x="544" y="427"/>
                  <a:pt x="544" y="501"/>
                </a:cubicBezTo>
                <a:cubicBezTo>
                  <a:pt x="544" y="554"/>
                  <a:pt x="509" y="585"/>
                  <a:pt x="457" y="585"/>
                </a:cubicBezTo>
                <a:close/>
                <a:moveTo>
                  <a:pt x="314" y="334"/>
                </a:moveTo>
                <a:cubicBezTo>
                  <a:pt x="245" y="334"/>
                  <a:pt x="189" y="278"/>
                  <a:pt x="189" y="209"/>
                </a:cubicBezTo>
                <a:cubicBezTo>
                  <a:pt x="189" y="140"/>
                  <a:pt x="245" y="83"/>
                  <a:pt x="314" y="83"/>
                </a:cubicBezTo>
                <a:cubicBezTo>
                  <a:pt x="384" y="83"/>
                  <a:pt x="440" y="140"/>
                  <a:pt x="440" y="209"/>
                </a:cubicBezTo>
                <a:cubicBezTo>
                  <a:pt x="440" y="278"/>
                  <a:pt x="384" y="334"/>
                  <a:pt x="314" y="334"/>
                </a:cubicBezTo>
                <a:close/>
                <a:moveTo>
                  <a:pt x="503" y="167"/>
                </a:moveTo>
                <a:cubicBezTo>
                  <a:pt x="456" y="167"/>
                  <a:pt x="419" y="129"/>
                  <a:pt x="419" y="83"/>
                </a:cubicBezTo>
                <a:cubicBezTo>
                  <a:pt x="419" y="37"/>
                  <a:pt x="456" y="0"/>
                  <a:pt x="503" y="0"/>
                </a:cubicBezTo>
                <a:cubicBezTo>
                  <a:pt x="549" y="0"/>
                  <a:pt x="586" y="37"/>
                  <a:pt x="586" y="83"/>
                </a:cubicBezTo>
                <a:cubicBezTo>
                  <a:pt x="586" y="129"/>
                  <a:pt x="549" y="167"/>
                  <a:pt x="503" y="167"/>
                </a:cubicBezTo>
                <a:close/>
                <a:moveTo>
                  <a:pt x="565" y="334"/>
                </a:moveTo>
                <a:cubicBezTo>
                  <a:pt x="521" y="334"/>
                  <a:pt x="521" y="334"/>
                  <a:pt x="521" y="334"/>
                </a:cubicBezTo>
                <a:cubicBezTo>
                  <a:pt x="499" y="308"/>
                  <a:pt x="468" y="294"/>
                  <a:pt x="434" y="293"/>
                </a:cubicBezTo>
                <a:cubicBezTo>
                  <a:pt x="451" y="268"/>
                  <a:pt x="461" y="239"/>
                  <a:pt x="461" y="209"/>
                </a:cubicBezTo>
                <a:cubicBezTo>
                  <a:pt x="461" y="202"/>
                  <a:pt x="460" y="195"/>
                  <a:pt x="459" y="187"/>
                </a:cubicBezTo>
                <a:cubicBezTo>
                  <a:pt x="473" y="192"/>
                  <a:pt x="488" y="195"/>
                  <a:pt x="503" y="195"/>
                </a:cubicBezTo>
                <a:cubicBezTo>
                  <a:pt x="547" y="195"/>
                  <a:pt x="581" y="167"/>
                  <a:pt x="588" y="167"/>
                </a:cubicBezTo>
                <a:cubicBezTo>
                  <a:pt x="629" y="167"/>
                  <a:pt x="628" y="256"/>
                  <a:pt x="628" y="282"/>
                </a:cubicBezTo>
                <a:cubicBezTo>
                  <a:pt x="628" y="319"/>
                  <a:pt x="597" y="334"/>
                  <a:pt x="565" y="334"/>
                </a:cubicBezTo>
                <a:close/>
              </a:path>
            </a:pathLst>
          </a:custGeom>
          <a:solidFill>
            <a:srgbClr val="C8AA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D9664B95-48EE-45BE-9ACE-41A7BBD9FE84}"/>
              </a:ext>
            </a:extLst>
          </p:cNvPr>
          <p:cNvSpPr/>
          <p:nvPr/>
        </p:nvSpPr>
        <p:spPr>
          <a:xfrm>
            <a:off x="6627744" y="2018741"/>
            <a:ext cx="120375" cy="120375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39C75767-1302-4795-A953-EB7390CFC7DA}"/>
              </a:ext>
            </a:extLst>
          </p:cNvPr>
          <p:cNvSpPr/>
          <p:nvPr/>
        </p:nvSpPr>
        <p:spPr>
          <a:xfrm>
            <a:off x="4380357" y="3677348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52322777-16F1-4E4B-BF60-C16249CC1A4B}"/>
              </a:ext>
            </a:extLst>
          </p:cNvPr>
          <p:cNvSpPr/>
          <p:nvPr/>
        </p:nvSpPr>
        <p:spPr>
          <a:xfrm>
            <a:off x="4380357" y="5020924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E52CB3EA-882F-4D51-A77B-25E8ADDF8800}"/>
              </a:ext>
            </a:extLst>
          </p:cNvPr>
          <p:cNvSpPr/>
          <p:nvPr/>
        </p:nvSpPr>
        <p:spPr>
          <a:xfrm>
            <a:off x="4380357" y="4349136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1B99594E-A45A-41F8-A141-69E95D59EBBE}"/>
              </a:ext>
            </a:extLst>
          </p:cNvPr>
          <p:cNvGrpSpPr/>
          <p:nvPr/>
        </p:nvGrpSpPr>
        <p:grpSpPr>
          <a:xfrm>
            <a:off x="4979637" y="3730509"/>
            <a:ext cx="2441998" cy="422430"/>
            <a:chOff x="4928694" y="3421685"/>
            <a:chExt cx="696819" cy="422430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70E4512E-A3D1-4DF2-9C49-687EF87C86A6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Team SoloMid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E9553BA4-D7D1-4654-9821-DF4FF02A8605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4)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0ECF2CB6-C65D-404A-AB11-2F3235221E30}"/>
              </a:ext>
            </a:extLst>
          </p:cNvPr>
          <p:cNvGrpSpPr/>
          <p:nvPr/>
        </p:nvGrpSpPr>
        <p:grpSpPr>
          <a:xfrm>
            <a:off x="4979637" y="4402297"/>
            <a:ext cx="2436647" cy="422430"/>
            <a:chOff x="4928694" y="3421685"/>
            <a:chExt cx="696819" cy="422430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8BE85756-3393-4A61-835A-7D9B45FC5F26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Team Braunschweig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E7C1F2B7-6A7B-44AC-A4A5-2DD5424BEE58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0)</a:t>
              </a: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F378C09A-5BBE-4CC8-ACDE-623D3DFE196E}"/>
              </a:ext>
            </a:extLst>
          </p:cNvPr>
          <p:cNvGrpSpPr/>
          <p:nvPr/>
        </p:nvGrpSpPr>
        <p:grpSpPr>
          <a:xfrm>
            <a:off x="4979637" y="5074085"/>
            <a:ext cx="2441998" cy="422430"/>
            <a:chOff x="4928694" y="3421685"/>
            <a:chExt cx="696819" cy="422430"/>
          </a:xfrm>
        </p:grpSpPr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6D9BE5DD-7103-4A11-99DE-DA5E9C6B70F6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Team FFM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EABE9F49-D6BA-4D22-B683-AA981E2CF4E2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4)</a:t>
              </a:r>
            </a:p>
          </p:txBody>
        </p:sp>
      </p:grpSp>
      <p:sp>
        <p:nvSpPr>
          <p:cNvPr id="153" name="Oval 152">
            <a:extLst>
              <a:ext uri="{FF2B5EF4-FFF2-40B4-BE49-F238E27FC236}">
                <a16:creationId xmlns:a16="http://schemas.microsoft.com/office/drawing/2014/main" id="{15882B0F-BDE0-4F28-ABEF-16AEED96E021}"/>
              </a:ext>
            </a:extLst>
          </p:cNvPr>
          <p:cNvSpPr/>
          <p:nvPr/>
        </p:nvSpPr>
        <p:spPr>
          <a:xfrm>
            <a:off x="4763811" y="3672708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06E851AA-787D-496C-A806-254BA2C3EF15}"/>
              </a:ext>
            </a:extLst>
          </p:cNvPr>
          <p:cNvSpPr/>
          <p:nvPr/>
        </p:nvSpPr>
        <p:spPr>
          <a:xfrm>
            <a:off x="4763811" y="5013897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7B87E1B-71B9-48E2-92C3-A7C56F1EDD71}"/>
              </a:ext>
            </a:extLst>
          </p:cNvPr>
          <p:cNvSpPr/>
          <p:nvPr/>
        </p:nvSpPr>
        <p:spPr>
          <a:xfrm>
            <a:off x="4763811" y="431849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5F4DFE6-76EF-43BC-A785-974403E11001}"/>
              </a:ext>
            </a:extLst>
          </p:cNvPr>
          <p:cNvSpPr/>
          <p:nvPr/>
        </p:nvSpPr>
        <p:spPr>
          <a:xfrm>
            <a:off x="4383920" y="5702356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8D033679-0AB6-47FD-942B-1EF2F25AD1BB}"/>
              </a:ext>
            </a:extLst>
          </p:cNvPr>
          <p:cNvGrpSpPr/>
          <p:nvPr/>
        </p:nvGrpSpPr>
        <p:grpSpPr>
          <a:xfrm>
            <a:off x="4983200" y="5755517"/>
            <a:ext cx="2436647" cy="422430"/>
            <a:chOff x="4928694" y="3421685"/>
            <a:chExt cx="696819" cy="422430"/>
          </a:xfrm>
        </p:grpSpPr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5A16EF5F-AE62-4997-B242-70817A7E1FB5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Team USA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9A2AB44C-4D62-44FA-B7B8-36A189C489FF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1)</a:t>
              </a:r>
            </a:p>
          </p:txBody>
        </p:sp>
      </p:grpSp>
      <p:sp>
        <p:nvSpPr>
          <p:cNvPr id="173" name="Oval 172">
            <a:extLst>
              <a:ext uri="{FF2B5EF4-FFF2-40B4-BE49-F238E27FC236}">
                <a16:creationId xmlns:a16="http://schemas.microsoft.com/office/drawing/2014/main" id="{455E08BF-2FD6-461A-BDA2-355817BDDCED}"/>
              </a:ext>
            </a:extLst>
          </p:cNvPr>
          <p:cNvSpPr/>
          <p:nvPr/>
        </p:nvSpPr>
        <p:spPr>
          <a:xfrm>
            <a:off x="4767374" y="567171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4" name="Picture 2" descr="Fist Icon - 13099 - Dryicons">
            <a:extLst>
              <a:ext uri="{FF2B5EF4-FFF2-40B4-BE49-F238E27FC236}">
                <a16:creationId xmlns:a16="http://schemas.microsoft.com/office/drawing/2014/main" id="{AF40CF3F-57DC-47F1-ABC9-C353EFB2DF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3041" y="3780032"/>
            <a:ext cx="323384" cy="323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6" descr="Weed - icon by Adioma">
            <a:extLst>
              <a:ext uri="{FF2B5EF4-FFF2-40B4-BE49-F238E27FC236}">
                <a16:creationId xmlns:a16="http://schemas.microsoft.com/office/drawing/2014/main" id="{22AA22FA-9090-405F-A1FD-E05806FAB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59" y="4456638"/>
            <a:ext cx="313747" cy="31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" name="Picture 8" descr="Fun Icon #133594 - Free Icons Library">
            <a:extLst>
              <a:ext uri="{FF2B5EF4-FFF2-40B4-BE49-F238E27FC236}">
                <a16:creationId xmlns:a16="http://schemas.microsoft.com/office/drawing/2014/main" id="{89CF337A-6681-449B-BE3E-16B6341F3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8325" y="5118892"/>
            <a:ext cx="332816" cy="332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7" name="Freeform 1201">
            <a:extLst>
              <a:ext uri="{FF2B5EF4-FFF2-40B4-BE49-F238E27FC236}">
                <a16:creationId xmlns:a16="http://schemas.microsoft.com/office/drawing/2014/main" id="{EF2E13C4-B663-46B3-A158-1FF2B436D19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12158" y="5860132"/>
            <a:ext cx="272277" cy="213199"/>
          </a:xfrm>
          <a:custGeom>
            <a:avLst/>
            <a:gdLst>
              <a:gd name="T0" fmla="*/ 670 w 670"/>
              <a:gd name="T1" fmla="*/ 408 h 523"/>
              <a:gd name="T2" fmla="*/ 659 w 670"/>
              <a:gd name="T3" fmla="*/ 418 h 523"/>
              <a:gd name="T4" fmla="*/ 628 w 670"/>
              <a:gd name="T5" fmla="*/ 418 h 523"/>
              <a:gd name="T6" fmla="*/ 628 w 670"/>
              <a:gd name="T7" fmla="*/ 460 h 523"/>
              <a:gd name="T8" fmla="*/ 565 w 670"/>
              <a:gd name="T9" fmla="*/ 523 h 523"/>
              <a:gd name="T10" fmla="*/ 502 w 670"/>
              <a:gd name="T11" fmla="*/ 460 h 523"/>
              <a:gd name="T12" fmla="*/ 502 w 670"/>
              <a:gd name="T13" fmla="*/ 418 h 523"/>
              <a:gd name="T14" fmla="*/ 168 w 670"/>
              <a:gd name="T15" fmla="*/ 418 h 523"/>
              <a:gd name="T16" fmla="*/ 168 w 670"/>
              <a:gd name="T17" fmla="*/ 460 h 523"/>
              <a:gd name="T18" fmla="*/ 105 w 670"/>
              <a:gd name="T19" fmla="*/ 523 h 523"/>
              <a:gd name="T20" fmla="*/ 42 w 670"/>
              <a:gd name="T21" fmla="*/ 460 h 523"/>
              <a:gd name="T22" fmla="*/ 42 w 670"/>
              <a:gd name="T23" fmla="*/ 418 h 523"/>
              <a:gd name="T24" fmla="*/ 11 w 670"/>
              <a:gd name="T25" fmla="*/ 418 h 523"/>
              <a:gd name="T26" fmla="*/ 0 w 670"/>
              <a:gd name="T27" fmla="*/ 408 h 523"/>
              <a:gd name="T28" fmla="*/ 0 w 670"/>
              <a:gd name="T29" fmla="*/ 282 h 523"/>
              <a:gd name="T30" fmla="*/ 74 w 670"/>
              <a:gd name="T31" fmla="*/ 209 h 523"/>
              <a:gd name="T32" fmla="*/ 83 w 670"/>
              <a:gd name="T33" fmla="*/ 209 h 523"/>
              <a:gd name="T34" fmla="*/ 117 w 670"/>
              <a:gd name="T35" fmla="*/ 72 h 523"/>
              <a:gd name="T36" fmla="*/ 210 w 670"/>
              <a:gd name="T37" fmla="*/ 0 h 523"/>
              <a:gd name="T38" fmla="*/ 460 w 670"/>
              <a:gd name="T39" fmla="*/ 0 h 523"/>
              <a:gd name="T40" fmla="*/ 553 w 670"/>
              <a:gd name="T41" fmla="*/ 72 h 523"/>
              <a:gd name="T42" fmla="*/ 587 w 670"/>
              <a:gd name="T43" fmla="*/ 209 h 523"/>
              <a:gd name="T44" fmla="*/ 596 w 670"/>
              <a:gd name="T45" fmla="*/ 209 h 523"/>
              <a:gd name="T46" fmla="*/ 670 w 670"/>
              <a:gd name="T47" fmla="*/ 282 h 523"/>
              <a:gd name="T48" fmla="*/ 670 w 670"/>
              <a:gd name="T49" fmla="*/ 408 h 523"/>
              <a:gd name="T50" fmla="*/ 105 w 670"/>
              <a:gd name="T51" fmla="*/ 262 h 523"/>
              <a:gd name="T52" fmla="*/ 53 w 670"/>
              <a:gd name="T53" fmla="*/ 314 h 523"/>
              <a:gd name="T54" fmla="*/ 105 w 670"/>
              <a:gd name="T55" fmla="*/ 366 h 523"/>
              <a:gd name="T56" fmla="*/ 157 w 670"/>
              <a:gd name="T57" fmla="*/ 314 h 523"/>
              <a:gd name="T58" fmla="*/ 105 w 670"/>
              <a:gd name="T59" fmla="*/ 262 h 523"/>
              <a:gd name="T60" fmla="*/ 501 w 670"/>
              <a:gd name="T61" fmla="*/ 209 h 523"/>
              <a:gd name="T62" fmla="*/ 472 w 670"/>
              <a:gd name="T63" fmla="*/ 93 h 523"/>
              <a:gd name="T64" fmla="*/ 460 w 670"/>
              <a:gd name="T65" fmla="*/ 84 h 523"/>
              <a:gd name="T66" fmla="*/ 210 w 670"/>
              <a:gd name="T67" fmla="*/ 84 h 523"/>
              <a:gd name="T68" fmla="*/ 198 w 670"/>
              <a:gd name="T69" fmla="*/ 93 h 523"/>
              <a:gd name="T70" fmla="*/ 169 w 670"/>
              <a:gd name="T71" fmla="*/ 209 h 523"/>
              <a:gd name="T72" fmla="*/ 501 w 670"/>
              <a:gd name="T73" fmla="*/ 209 h 523"/>
              <a:gd name="T74" fmla="*/ 565 w 670"/>
              <a:gd name="T75" fmla="*/ 262 h 523"/>
              <a:gd name="T76" fmla="*/ 513 w 670"/>
              <a:gd name="T77" fmla="*/ 314 h 523"/>
              <a:gd name="T78" fmla="*/ 565 w 670"/>
              <a:gd name="T79" fmla="*/ 366 h 523"/>
              <a:gd name="T80" fmla="*/ 617 w 670"/>
              <a:gd name="T81" fmla="*/ 314 h 523"/>
              <a:gd name="T82" fmla="*/ 565 w 670"/>
              <a:gd name="T83" fmla="*/ 262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70" h="523">
                <a:moveTo>
                  <a:pt x="670" y="408"/>
                </a:moveTo>
                <a:cubicBezTo>
                  <a:pt x="670" y="414"/>
                  <a:pt x="665" y="418"/>
                  <a:pt x="659" y="418"/>
                </a:cubicBezTo>
                <a:cubicBezTo>
                  <a:pt x="628" y="418"/>
                  <a:pt x="628" y="418"/>
                  <a:pt x="628" y="418"/>
                </a:cubicBezTo>
                <a:cubicBezTo>
                  <a:pt x="628" y="460"/>
                  <a:pt x="628" y="460"/>
                  <a:pt x="628" y="460"/>
                </a:cubicBezTo>
                <a:cubicBezTo>
                  <a:pt x="628" y="495"/>
                  <a:pt x="600" y="523"/>
                  <a:pt x="565" y="523"/>
                </a:cubicBezTo>
                <a:cubicBezTo>
                  <a:pt x="530" y="523"/>
                  <a:pt x="502" y="495"/>
                  <a:pt x="502" y="460"/>
                </a:cubicBezTo>
                <a:cubicBezTo>
                  <a:pt x="502" y="418"/>
                  <a:pt x="502" y="418"/>
                  <a:pt x="502" y="418"/>
                </a:cubicBezTo>
                <a:cubicBezTo>
                  <a:pt x="168" y="418"/>
                  <a:pt x="168" y="418"/>
                  <a:pt x="168" y="418"/>
                </a:cubicBezTo>
                <a:cubicBezTo>
                  <a:pt x="168" y="460"/>
                  <a:pt x="168" y="460"/>
                  <a:pt x="168" y="460"/>
                </a:cubicBezTo>
                <a:cubicBezTo>
                  <a:pt x="168" y="495"/>
                  <a:pt x="140" y="523"/>
                  <a:pt x="105" y="523"/>
                </a:cubicBezTo>
                <a:cubicBezTo>
                  <a:pt x="70" y="523"/>
                  <a:pt x="42" y="495"/>
                  <a:pt x="42" y="460"/>
                </a:cubicBezTo>
                <a:cubicBezTo>
                  <a:pt x="42" y="418"/>
                  <a:pt x="42" y="418"/>
                  <a:pt x="42" y="418"/>
                </a:cubicBezTo>
                <a:cubicBezTo>
                  <a:pt x="11" y="418"/>
                  <a:pt x="11" y="418"/>
                  <a:pt x="11" y="418"/>
                </a:cubicBezTo>
                <a:cubicBezTo>
                  <a:pt x="5" y="418"/>
                  <a:pt x="0" y="414"/>
                  <a:pt x="0" y="408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42"/>
                  <a:pt x="33" y="209"/>
                  <a:pt x="74" y="209"/>
                </a:cubicBezTo>
                <a:cubicBezTo>
                  <a:pt x="83" y="209"/>
                  <a:pt x="83" y="209"/>
                  <a:pt x="83" y="209"/>
                </a:cubicBezTo>
                <a:cubicBezTo>
                  <a:pt x="117" y="72"/>
                  <a:pt x="117" y="72"/>
                  <a:pt x="117" y="72"/>
                </a:cubicBezTo>
                <a:cubicBezTo>
                  <a:pt x="127" y="31"/>
                  <a:pt x="167" y="0"/>
                  <a:pt x="210" y="0"/>
                </a:cubicBezTo>
                <a:cubicBezTo>
                  <a:pt x="460" y="0"/>
                  <a:pt x="460" y="0"/>
                  <a:pt x="460" y="0"/>
                </a:cubicBezTo>
                <a:cubicBezTo>
                  <a:pt x="503" y="0"/>
                  <a:pt x="543" y="31"/>
                  <a:pt x="553" y="72"/>
                </a:cubicBezTo>
                <a:cubicBezTo>
                  <a:pt x="587" y="209"/>
                  <a:pt x="587" y="209"/>
                  <a:pt x="587" y="209"/>
                </a:cubicBezTo>
                <a:cubicBezTo>
                  <a:pt x="596" y="209"/>
                  <a:pt x="596" y="209"/>
                  <a:pt x="596" y="209"/>
                </a:cubicBezTo>
                <a:cubicBezTo>
                  <a:pt x="637" y="209"/>
                  <a:pt x="670" y="242"/>
                  <a:pt x="670" y="282"/>
                </a:cubicBezTo>
                <a:lnTo>
                  <a:pt x="670" y="408"/>
                </a:lnTo>
                <a:close/>
                <a:moveTo>
                  <a:pt x="105" y="262"/>
                </a:moveTo>
                <a:cubicBezTo>
                  <a:pt x="76" y="262"/>
                  <a:pt x="53" y="285"/>
                  <a:pt x="53" y="314"/>
                </a:cubicBezTo>
                <a:cubicBezTo>
                  <a:pt x="53" y="343"/>
                  <a:pt x="76" y="366"/>
                  <a:pt x="105" y="366"/>
                </a:cubicBezTo>
                <a:cubicBezTo>
                  <a:pt x="134" y="366"/>
                  <a:pt x="157" y="343"/>
                  <a:pt x="157" y="314"/>
                </a:cubicBezTo>
                <a:cubicBezTo>
                  <a:pt x="157" y="285"/>
                  <a:pt x="134" y="262"/>
                  <a:pt x="105" y="262"/>
                </a:cubicBezTo>
                <a:close/>
                <a:moveTo>
                  <a:pt x="501" y="209"/>
                </a:moveTo>
                <a:cubicBezTo>
                  <a:pt x="472" y="93"/>
                  <a:pt x="472" y="93"/>
                  <a:pt x="472" y="93"/>
                </a:cubicBezTo>
                <a:cubicBezTo>
                  <a:pt x="471" y="89"/>
                  <a:pt x="464" y="84"/>
                  <a:pt x="460" y="84"/>
                </a:cubicBezTo>
                <a:cubicBezTo>
                  <a:pt x="210" y="84"/>
                  <a:pt x="210" y="84"/>
                  <a:pt x="210" y="84"/>
                </a:cubicBezTo>
                <a:cubicBezTo>
                  <a:pt x="206" y="84"/>
                  <a:pt x="199" y="89"/>
                  <a:pt x="198" y="93"/>
                </a:cubicBezTo>
                <a:cubicBezTo>
                  <a:pt x="169" y="209"/>
                  <a:pt x="169" y="209"/>
                  <a:pt x="169" y="209"/>
                </a:cubicBezTo>
                <a:lnTo>
                  <a:pt x="501" y="209"/>
                </a:lnTo>
                <a:close/>
                <a:moveTo>
                  <a:pt x="565" y="262"/>
                </a:moveTo>
                <a:cubicBezTo>
                  <a:pt x="536" y="262"/>
                  <a:pt x="513" y="285"/>
                  <a:pt x="513" y="314"/>
                </a:cubicBezTo>
                <a:cubicBezTo>
                  <a:pt x="513" y="343"/>
                  <a:pt x="536" y="366"/>
                  <a:pt x="565" y="366"/>
                </a:cubicBezTo>
                <a:cubicBezTo>
                  <a:pt x="594" y="366"/>
                  <a:pt x="617" y="343"/>
                  <a:pt x="617" y="314"/>
                </a:cubicBezTo>
                <a:cubicBezTo>
                  <a:pt x="617" y="285"/>
                  <a:pt x="594" y="262"/>
                  <a:pt x="565" y="26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0E743448-9559-4969-8CAE-45054F3A3442}"/>
              </a:ext>
            </a:extLst>
          </p:cNvPr>
          <p:cNvGrpSpPr/>
          <p:nvPr/>
        </p:nvGrpSpPr>
        <p:grpSpPr>
          <a:xfrm>
            <a:off x="6878957" y="6001738"/>
            <a:ext cx="528752" cy="528752"/>
            <a:chOff x="2921677" y="5396943"/>
            <a:chExt cx="528752" cy="528752"/>
          </a:xfrm>
        </p:grpSpPr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EF4C46DD-C609-40A8-B15E-CAF4A3F0003E}"/>
                </a:ext>
              </a:extLst>
            </p:cNvPr>
            <p:cNvSpPr/>
            <p:nvPr/>
          </p:nvSpPr>
          <p:spPr>
            <a:xfrm>
              <a:off x="2921677" y="5396943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BBCC9627-F542-4EB7-AE20-5C75A4111D10}"/>
                </a:ext>
              </a:extLst>
            </p:cNvPr>
            <p:cNvGrpSpPr/>
            <p:nvPr/>
          </p:nvGrpSpPr>
          <p:grpSpPr>
            <a:xfrm>
              <a:off x="3036997" y="5512263"/>
              <a:ext cx="298112" cy="298112"/>
              <a:chOff x="9507091" y="2579709"/>
              <a:chExt cx="241926" cy="241926"/>
            </a:xfrm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B4CDF868-BA3F-435F-BFDE-798FBB409A2D}"/>
                  </a:ext>
                </a:extLst>
              </p:cNvPr>
              <p:cNvSpPr/>
              <p:nvPr/>
            </p:nvSpPr>
            <p:spPr>
              <a:xfrm>
                <a:off x="9507091" y="2579709"/>
                <a:ext cx="241926" cy="2419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Freeform 879">
                <a:extLst>
                  <a:ext uri="{FF2B5EF4-FFF2-40B4-BE49-F238E27FC236}">
                    <a16:creationId xmlns:a16="http://schemas.microsoft.com/office/drawing/2014/main" id="{449A6DD7-DCEC-4804-99DE-9D78283166F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7091" y="2579709"/>
                <a:ext cx="241926" cy="241926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397 w 502"/>
                  <a:gd name="T11" fmla="*/ 230 h 502"/>
                  <a:gd name="T12" fmla="*/ 376 w 502"/>
                  <a:gd name="T13" fmla="*/ 209 h 502"/>
                  <a:gd name="T14" fmla="*/ 293 w 502"/>
                  <a:gd name="T15" fmla="*/ 209 h 502"/>
                  <a:gd name="T16" fmla="*/ 293 w 502"/>
                  <a:gd name="T17" fmla="*/ 125 h 502"/>
                  <a:gd name="T18" fmla="*/ 272 w 502"/>
                  <a:gd name="T19" fmla="*/ 104 h 502"/>
                  <a:gd name="T20" fmla="*/ 230 w 502"/>
                  <a:gd name="T21" fmla="*/ 104 h 502"/>
                  <a:gd name="T22" fmla="*/ 209 w 502"/>
                  <a:gd name="T23" fmla="*/ 125 h 502"/>
                  <a:gd name="T24" fmla="*/ 209 w 502"/>
                  <a:gd name="T25" fmla="*/ 209 h 502"/>
                  <a:gd name="T26" fmla="*/ 125 w 502"/>
                  <a:gd name="T27" fmla="*/ 209 h 502"/>
                  <a:gd name="T28" fmla="*/ 104 w 502"/>
                  <a:gd name="T29" fmla="*/ 230 h 502"/>
                  <a:gd name="T30" fmla="*/ 104 w 502"/>
                  <a:gd name="T31" fmla="*/ 272 h 502"/>
                  <a:gd name="T32" fmla="*/ 125 w 502"/>
                  <a:gd name="T33" fmla="*/ 293 h 502"/>
                  <a:gd name="T34" fmla="*/ 209 w 502"/>
                  <a:gd name="T35" fmla="*/ 293 h 502"/>
                  <a:gd name="T36" fmla="*/ 209 w 502"/>
                  <a:gd name="T37" fmla="*/ 376 h 502"/>
                  <a:gd name="T38" fmla="*/ 230 w 502"/>
                  <a:gd name="T39" fmla="*/ 397 h 502"/>
                  <a:gd name="T40" fmla="*/ 272 w 502"/>
                  <a:gd name="T41" fmla="*/ 397 h 502"/>
                  <a:gd name="T42" fmla="*/ 293 w 502"/>
                  <a:gd name="T43" fmla="*/ 376 h 502"/>
                  <a:gd name="T44" fmla="*/ 293 w 502"/>
                  <a:gd name="T45" fmla="*/ 293 h 502"/>
                  <a:gd name="T46" fmla="*/ 376 w 502"/>
                  <a:gd name="T47" fmla="*/ 293 h 502"/>
                  <a:gd name="T48" fmla="*/ 397 w 502"/>
                  <a:gd name="T49" fmla="*/ 272 h 502"/>
                  <a:gd name="T50" fmla="*/ 397 w 502"/>
                  <a:gd name="T51" fmla="*/ 23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2" y="502"/>
                      <a:pt x="0" y="389"/>
                      <a:pt x="0" y="251"/>
                    </a:cubicBezTo>
                    <a:cubicBezTo>
                      <a:pt x="0" y="112"/>
                      <a:pt x="112" y="0"/>
                      <a:pt x="251" y="0"/>
                    </a:cubicBezTo>
                    <a:cubicBezTo>
                      <a:pt x="389" y="0"/>
                      <a:pt x="502" y="112"/>
                      <a:pt x="502" y="251"/>
                    </a:cubicBezTo>
                    <a:cubicBezTo>
                      <a:pt x="502" y="389"/>
                      <a:pt x="389" y="502"/>
                      <a:pt x="251" y="502"/>
                    </a:cubicBezTo>
                    <a:close/>
                    <a:moveTo>
                      <a:pt x="397" y="230"/>
                    </a:moveTo>
                    <a:cubicBezTo>
                      <a:pt x="397" y="218"/>
                      <a:pt x="388" y="209"/>
                      <a:pt x="376" y="209"/>
                    </a:cubicBezTo>
                    <a:cubicBezTo>
                      <a:pt x="293" y="209"/>
                      <a:pt x="293" y="209"/>
                      <a:pt x="293" y="209"/>
                    </a:cubicBezTo>
                    <a:cubicBezTo>
                      <a:pt x="293" y="125"/>
                      <a:pt x="293" y="125"/>
                      <a:pt x="293" y="125"/>
                    </a:cubicBezTo>
                    <a:cubicBezTo>
                      <a:pt x="293" y="114"/>
                      <a:pt x="283" y="104"/>
                      <a:pt x="272" y="104"/>
                    </a:cubicBezTo>
                    <a:cubicBezTo>
                      <a:pt x="230" y="104"/>
                      <a:pt x="230" y="104"/>
                      <a:pt x="230" y="104"/>
                    </a:cubicBezTo>
                    <a:cubicBezTo>
                      <a:pt x="218" y="104"/>
                      <a:pt x="209" y="114"/>
                      <a:pt x="209" y="125"/>
                    </a:cubicBezTo>
                    <a:cubicBezTo>
                      <a:pt x="209" y="209"/>
                      <a:pt x="209" y="209"/>
                      <a:pt x="209" y="209"/>
                    </a:cubicBezTo>
                    <a:cubicBezTo>
                      <a:pt x="125" y="209"/>
                      <a:pt x="125" y="209"/>
                      <a:pt x="125" y="209"/>
                    </a:cubicBezTo>
                    <a:cubicBezTo>
                      <a:pt x="114" y="209"/>
                      <a:pt x="104" y="218"/>
                      <a:pt x="104" y="230"/>
                    </a:cubicBezTo>
                    <a:cubicBezTo>
                      <a:pt x="104" y="272"/>
                      <a:pt x="104" y="272"/>
                      <a:pt x="104" y="272"/>
                    </a:cubicBezTo>
                    <a:cubicBezTo>
                      <a:pt x="104" y="283"/>
                      <a:pt x="114" y="293"/>
                      <a:pt x="125" y="293"/>
                    </a:cubicBezTo>
                    <a:cubicBezTo>
                      <a:pt x="209" y="293"/>
                      <a:pt x="209" y="293"/>
                      <a:pt x="209" y="293"/>
                    </a:cubicBezTo>
                    <a:cubicBezTo>
                      <a:pt x="209" y="376"/>
                      <a:pt x="209" y="376"/>
                      <a:pt x="209" y="376"/>
                    </a:cubicBezTo>
                    <a:cubicBezTo>
                      <a:pt x="209" y="388"/>
                      <a:pt x="218" y="397"/>
                      <a:pt x="230" y="397"/>
                    </a:cubicBezTo>
                    <a:cubicBezTo>
                      <a:pt x="272" y="397"/>
                      <a:pt x="272" y="397"/>
                      <a:pt x="272" y="397"/>
                    </a:cubicBezTo>
                    <a:cubicBezTo>
                      <a:pt x="283" y="397"/>
                      <a:pt x="293" y="388"/>
                      <a:pt x="293" y="376"/>
                    </a:cubicBezTo>
                    <a:cubicBezTo>
                      <a:pt x="293" y="293"/>
                      <a:pt x="293" y="293"/>
                      <a:pt x="293" y="293"/>
                    </a:cubicBezTo>
                    <a:cubicBezTo>
                      <a:pt x="376" y="293"/>
                      <a:pt x="376" y="293"/>
                      <a:pt x="376" y="293"/>
                    </a:cubicBezTo>
                    <a:cubicBezTo>
                      <a:pt x="388" y="293"/>
                      <a:pt x="397" y="283"/>
                      <a:pt x="397" y="272"/>
                    </a:cubicBezTo>
                    <a:lnTo>
                      <a:pt x="397" y="2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689446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BE1A15C4-4319-44F8-BED0-BF223C1557D2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BEB3F7C-BD39-4C95-8820-988EB706C303}"/>
              </a:ext>
            </a:extLst>
          </p:cNvPr>
          <p:cNvSpPr/>
          <p:nvPr/>
        </p:nvSpPr>
        <p:spPr>
          <a:xfrm>
            <a:off x="4173376" y="1952911"/>
            <a:ext cx="3453210" cy="9011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0: Overview page of my matche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5F73B77-9BA3-4FC8-942C-59D8039F784D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806">
            <a:extLst>
              <a:ext uri="{FF2B5EF4-FFF2-40B4-BE49-F238E27FC236}">
                <a16:creationId xmlns:a16="http://schemas.microsoft.com/office/drawing/2014/main" id="{CE174B8B-A958-479C-AB1C-4692BD889A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1380">
            <a:extLst>
              <a:ext uri="{FF2B5EF4-FFF2-40B4-BE49-F238E27FC236}">
                <a16:creationId xmlns:a16="http://schemas.microsoft.com/office/drawing/2014/main" id="{6CD4078B-1E8F-42F7-9517-C9A36C3ADC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FB3641E-ABAE-49C5-82C0-964D08A18201}"/>
              </a:ext>
            </a:extLst>
          </p:cNvPr>
          <p:cNvGrpSpPr/>
          <p:nvPr/>
        </p:nvGrpSpPr>
        <p:grpSpPr>
          <a:xfrm>
            <a:off x="5492679" y="1146393"/>
            <a:ext cx="735241" cy="418511"/>
            <a:chOff x="8597394" y="2882013"/>
            <a:chExt cx="960944" cy="54698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0D25E18-FEDE-4B90-B3DD-A10B67469022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C0991E-6555-470D-A8C6-BA286D250192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221E14F9-84B5-4B37-8A3A-D46A030B444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400A6D8-30C4-4C77-8984-70D891AB577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8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040C6AB0-A6CF-48A0-8E83-5ED3002DB2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3BC3D70C-C265-4CB9-9E9A-74A5581656CD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5D4EE18D-2BD5-433A-8674-72BB83D5EF75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8DC0C7-F806-452B-B271-65F6F8FD7A7E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Fat Fox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9723CE-F17B-4730-AFD5-00FEC29AC3B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631FAA6-6AF6-4761-A437-188B41015A14}"/>
              </a:ext>
            </a:extLst>
          </p:cNvPr>
          <p:cNvSpPr txBox="1"/>
          <p:nvPr/>
        </p:nvSpPr>
        <p:spPr>
          <a:xfrm>
            <a:off x="4131202" y="1659164"/>
            <a:ext cx="3540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New Match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EAA0729-813A-4B3D-B41E-DE2FAB3C9193}"/>
              </a:ext>
            </a:extLst>
          </p:cNvPr>
          <p:cNvSpPr txBox="1"/>
          <p:nvPr/>
        </p:nvSpPr>
        <p:spPr>
          <a:xfrm>
            <a:off x="4361069" y="2595174"/>
            <a:ext cx="5673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ok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F6D1EB5-5139-4BCB-B625-6D52BB4B518D}"/>
              </a:ext>
            </a:extLst>
          </p:cNvPr>
          <p:cNvSpPr/>
          <p:nvPr/>
        </p:nvSpPr>
        <p:spPr>
          <a:xfrm>
            <a:off x="7243678" y="1163793"/>
            <a:ext cx="120375" cy="120375"/>
          </a:xfrm>
          <a:prstGeom prst="ellipse">
            <a:avLst/>
          </a:prstGeom>
          <a:solidFill>
            <a:srgbClr val="C8AA6E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1BCAC55-74A1-402A-953E-42BC62F63B9E}"/>
              </a:ext>
            </a:extLst>
          </p:cNvPr>
          <p:cNvGrpSpPr/>
          <p:nvPr/>
        </p:nvGrpSpPr>
        <p:grpSpPr>
          <a:xfrm>
            <a:off x="4380357" y="2043684"/>
            <a:ext cx="528752" cy="528752"/>
            <a:chOff x="4301585" y="1993350"/>
            <a:chExt cx="528752" cy="52875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D7882760-0C98-4C65-83CC-431BF5CBC48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6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ECFF65AA-F9AC-45B8-BCC3-98012BA98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F333723-00B4-4494-98C3-B3562B8ECE46}"/>
              </a:ext>
            </a:extLst>
          </p:cNvPr>
          <p:cNvGrpSpPr/>
          <p:nvPr/>
        </p:nvGrpSpPr>
        <p:grpSpPr>
          <a:xfrm>
            <a:off x="5008489" y="2043684"/>
            <a:ext cx="528752" cy="528752"/>
            <a:chOff x="4966407" y="1993350"/>
            <a:chExt cx="528752" cy="528752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D4D78BD-48CB-4385-A487-F6612D6BF2D0}"/>
                </a:ext>
              </a:extLst>
            </p:cNvPr>
            <p:cNvSpPr/>
            <p:nvPr/>
          </p:nvSpPr>
          <p:spPr>
            <a:xfrm>
              <a:off x="4966407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 descr="Category:Role icons | League of Legends Wiki | Fandom">
              <a:extLst>
                <a:ext uri="{FF2B5EF4-FFF2-40B4-BE49-F238E27FC236}">
                  <a16:creationId xmlns:a16="http://schemas.microsoft.com/office/drawing/2014/main" id="{517C3EED-4A17-473F-9980-72BEAD4E0A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035" y="2056845"/>
              <a:ext cx="396580" cy="396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D02F3F2-EE5E-40CA-8DAB-D55DA999905F}"/>
              </a:ext>
            </a:extLst>
          </p:cNvPr>
          <p:cNvGrpSpPr/>
          <p:nvPr/>
        </p:nvGrpSpPr>
        <p:grpSpPr>
          <a:xfrm>
            <a:off x="6892883" y="2043684"/>
            <a:ext cx="528752" cy="528752"/>
            <a:chOff x="6960872" y="1993350"/>
            <a:chExt cx="528752" cy="528752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55AB5FB9-427D-41AB-A4EF-C7C77A0E4BFB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8FF18D9E-6F8B-4F21-A1A0-B303791934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A46D3FD-B005-40A4-A9D0-C7F331C989CB}"/>
              </a:ext>
            </a:extLst>
          </p:cNvPr>
          <p:cNvGrpSpPr/>
          <p:nvPr/>
        </p:nvGrpSpPr>
        <p:grpSpPr>
          <a:xfrm>
            <a:off x="6264752" y="2043684"/>
            <a:ext cx="528752" cy="528752"/>
            <a:chOff x="6296051" y="1993350"/>
            <a:chExt cx="528752" cy="528752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537676C-2B5B-410B-99C2-AE00933B42D7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2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D5BCF1BD-B09A-4100-941D-9725567655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AC5E6AE-CAE0-4708-BB85-280A091D9A5A}"/>
              </a:ext>
            </a:extLst>
          </p:cNvPr>
          <p:cNvGrpSpPr/>
          <p:nvPr/>
        </p:nvGrpSpPr>
        <p:grpSpPr>
          <a:xfrm>
            <a:off x="5636621" y="2043684"/>
            <a:ext cx="528752" cy="528752"/>
            <a:chOff x="5631229" y="1993350"/>
            <a:chExt cx="528752" cy="528752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E2828DB-6E02-4255-B426-F05F92CF6DC2}"/>
                </a:ext>
              </a:extLst>
            </p:cNvPr>
            <p:cNvSpPr/>
            <p:nvPr/>
          </p:nvSpPr>
          <p:spPr>
            <a:xfrm>
              <a:off x="5631229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4" name="Picture 10" descr="Jungle - Discord Emoji">
              <a:extLst>
                <a:ext uri="{FF2B5EF4-FFF2-40B4-BE49-F238E27FC236}">
                  <a16:creationId xmlns:a16="http://schemas.microsoft.com/office/drawing/2014/main" id="{D04D2240-7107-4522-9C37-7750D0F9A3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6602" y="2038722"/>
              <a:ext cx="438007" cy="438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A0EE1A4-78E3-4BDC-B3F3-07552CB331BA}"/>
              </a:ext>
            </a:extLst>
          </p:cNvPr>
          <p:cNvSpPr txBox="1"/>
          <p:nvPr/>
        </p:nvSpPr>
        <p:spPr>
          <a:xfrm>
            <a:off x="8758855" y="2859262"/>
            <a:ext cx="1678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67" name="Arrow: Chevron 66">
            <a:extLst>
              <a:ext uri="{FF2B5EF4-FFF2-40B4-BE49-F238E27FC236}">
                <a16:creationId xmlns:a16="http://schemas.microsoft.com/office/drawing/2014/main" id="{B183D61C-DB8D-4309-AEC7-1E4389D026CB}"/>
              </a:ext>
            </a:extLst>
          </p:cNvPr>
          <p:cNvSpPr/>
          <p:nvPr/>
        </p:nvSpPr>
        <p:spPr>
          <a:xfrm>
            <a:off x="7479926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id="{C645FD19-9871-478A-9FE0-095F092A3D0E}"/>
              </a:ext>
            </a:extLst>
          </p:cNvPr>
          <p:cNvSpPr/>
          <p:nvPr/>
        </p:nvSpPr>
        <p:spPr>
          <a:xfrm rot="10800000">
            <a:off x="4184387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F60C633-C891-49B5-A3DD-E44D711BC15E}"/>
              </a:ext>
            </a:extLst>
          </p:cNvPr>
          <p:cNvSpPr txBox="1"/>
          <p:nvPr/>
        </p:nvSpPr>
        <p:spPr>
          <a:xfrm>
            <a:off x="4925219" y="2595174"/>
            <a:ext cx="6952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Magico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17D59B8-BBF4-4454-AE70-F0DCCCFB5715}"/>
              </a:ext>
            </a:extLst>
          </p:cNvPr>
          <p:cNvSpPr txBox="1"/>
          <p:nvPr/>
        </p:nvSpPr>
        <p:spPr>
          <a:xfrm>
            <a:off x="553884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unglebo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CF8D878-B6A5-400F-8E30-4DF832FFAB00}"/>
              </a:ext>
            </a:extLst>
          </p:cNvPr>
          <p:cNvSpPr txBox="1"/>
          <p:nvPr/>
        </p:nvSpPr>
        <p:spPr>
          <a:xfrm>
            <a:off x="616697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Dr.Mundo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FB38C39-B62C-4732-A6D3-2E2505C93879}"/>
              </a:ext>
            </a:extLst>
          </p:cNvPr>
          <p:cNvSpPr txBox="1"/>
          <p:nvPr/>
        </p:nvSpPr>
        <p:spPr>
          <a:xfrm>
            <a:off x="6795108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Blitz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EC81ECA-896E-4EF3-967B-AAEFA34E7542}"/>
              </a:ext>
            </a:extLst>
          </p:cNvPr>
          <p:cNvGrpSpPr/>
          <p:nvPr/>
        </p:nvGrpSpPr>
        <p:grpSpPr>
          <a:xfrm>
            <a:off x="4380357" y="3677348"/>
            <a:ext cx="528752" cy="528752"/>
            <a:chOff x="4301585" y="1993350"/>
            <a:chExt cx="528752" cy="528752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BDE8FF1-BE69-419A-82D4-B4A5955AD42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1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B106BD52-F292-4844-85AB-6CADFE65F4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136B307-3888-4097-94CE-39617BAC6504}"/>
              </a:ext>
            </a:extLst>
          </p:cNvPr>
          <p:cNvGrpSpPr/>
          <p:nvPr/>
        </p:nvGrpSpPr>
        <p:grpSpPr>
          <a:xfrm>
            <a:off x="4380357" y="5020924"/>
            <a:ext cx="528752" cy="528752"/>
            <a:chOff x="6960872" y="1993350"/>
            <a:chExt cx="528752" cy="528752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1AC109A-0686-4AFC-A506-5D0B9BCAC3D8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4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9432E971-C486-4F1C-BE75-DC507CDC74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02E3BB6D-AB32-4874-940B-D88C4F080CF3}"/>
              </a:ext>
            </a:extLst>
          </p:cNvPr>
          <p:cNvGrpSpPr/>
          <p:nvPr/>
        </p:nvGrpSpPr>
        <p:grpSpPr>
          <a:xfrm>
            <a:off x="4380357" y="4349136"/>
            <a:ext cx="528752" cy="528752"/>
            <a:chOff x="6296051" y="1993350"/>
            <a:chExt cx="528752" cy="528752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2BA0873A-C687-4005-81F1-40285512ED6F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7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58BD5C43-5F11-4C34-AA90-858CDD0F5A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B25CA57-C098-43B8-B741-121DB2E28BDE}"/>
              </a:ext>
            </a:extLst>
          </p:cNvPr>
          <p:cNvGrpSpPr/>
          <p:nvPr/>
        </p:nvGrpSpPr>
        <p:grpSpPr>
          <a:xfrm>
            <a:off x="4979637" y="3730509"/>
            <a:ext cx="2441998" cy="422430"/>
            <a:chOff x="4928694" y="3421685"/>
            <a:chExt cx="696819" cy="422430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91370BD-C165-4258-8261-86C000EF0E5A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Fakerlol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415E400-843A-48A0-ABB4-2E6F48102D67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Hey yo!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C417DF6-EEA1-4285-A62C-DCCE74A1B8DC}"/>
              </a:ext>
            </a:extLst>
          </p:cNvPr>
          <p:cNvGrpSpPr/>
          <p:nvPr/>
        </p:nvGrpSpPr>
        <p:grpSpPr>
          <a:xfrm>
            <a:off x="4979637" y="4402297"/>
            <a:ext cx="2436647" cy="422430"/>
            <a:chOff x="4928694" y="3421685"/>
            <a:chExt cx="696819" cy="422430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C855A7D-620A-41A4-9D4C-5A220CF05BEB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Bjergsen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740FA77-49AF-4B0F-9A35-13678B1C2EA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e I am down for...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AA295E4-5423-4164-9E49-F8EE4156F451}"/>
              </a:ext>
            </a:extLst>
          </p:cNvPr>
          <p:cNvGrpSpPr/>
          <p:nvPr/>
        </p:nvGrpSpPr>
        <p:grpSpPr>
          <a:xfrm>
            <a:off x="4979637" y="5074085"/>
            <a:ext cx="2441998" cy="422430"/>
            <a:chOff x="4928694" y="3421685"/>
            <a:chExt cx="696819" cy="422430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ACF0164-6A45-4953-A103-64DF891D1669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Rekkles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F1D1048-6602-4FDF-AF37-E391EC93C3F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ou down for ...</a:t>
              </a:r>
            </a:p>
          </p:txBody>
        </p:sp>
      </p:grpSp>
      <p:sp>
        <p:nvSpPr>
          <p:cNvPr id="63" name="Oval 62">
            <a:extLst>
              <a:ext uri="{FF2B5EF4-FFF2-40B4-BE49-F238E27FC236}">
                <a16:creationId xmlns:a16="http://schemas.microsoft.com/office/drawing/2014/main" id="{08B0BF52-182A-467A-A694-FFF1F202FE81}"/>
              </a:ext>
            </a:extLst>
          </p:cNvPr>
          <p:cNvSpPr/>
          <p:nvPr/>
        </p:nvSpPr>
        <p:spPr>
          <a:xfrm>
            <a:off x="4763811" y="3672708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491D11-444D-44A2-A05E-FA1AB3F572BB}"/>
              </a:ext>
            </a:extLst>
          </p:cNvPr>
          <p:cNvSpPr/>
          <p:nvPr/>
        </p:nvSpPr>
        <p:spPr>
          <a:xfrm>
            <a:off x="4763811" y="5013897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20DE401-E7AC-4BAC-9C65-F6A837421BF5}"/>
              </a:ext>
            </a:extLst>
          </p:cNvPr>
          <p:cNvSpPr/>
          <p:nvPr/>
        </p:nvSpPr>
        <p:spPr>
          <a:xfrm>
            <a:off x="4763811" y="431849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53461C11-DC8A-4A08-A1C9-53E11DAA1655}"/>
              </a:ext>
            </a:extLst>
          </p:cNvPr>
          <p:cNvGrpSpPr/>
          <p:nvPr/>
        </p:nvGrpSpPr>
        <p:grpSpPr>
          <a:xfrm>
            <a:off x="4383920" y="5702356"/>
            <a:ext cx="528752" cy="528752"/>
            <a:chOff x="6296051" y="1993350"/>
            <a:chExt cx="528752" cy="528752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77D4D68D-4410-4080-933E-952A98055B8C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7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13FC0A49-B559-471D-8E0E-EAEA0E0B76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EB76E4E-9392-4F98-92A7-F0312E394987}"/>
              </a:ext>
            </a:extLst>
          </p:cNvPr>
          <p:cNvGrpSpPr/>
          <p:nvPr/>
        </p:nvGrpSpPr>
        <p:grpSpPr>
          <a:xfrm>
            <a:off x="4983200" y="5755517"/>
            <a:ext cx="2436647" cy="422430"/>
            <a:chOff x="4928694" y="3421685"/>
            <a:chExt cx="696819" cy="422430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295934A1-58D6-4F43-8D8B-E5D0879528D5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Bjergsen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1775A62C-D67F-465F-900A-E078295DDF41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e I am down for ...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6D2E38DF-3F69-43CE-868B-21DDC6F3AB31}"/>
              </a:ext>
            </a:extLst>
          </p:cNvPr>
          <p:cNvSpPr/>
          <p:nvPr/>
        </p:nvSpPr>
        <p:spPr>
          <a:xfrm>
            <a:off x="4767374" y="567171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3D1714F-2871-4535-A78B-63B6944FD42F}"/>
              </a:ext>
            </a:extLst>
          </p:cNvPr>
          <p:cNvSpPr txBox="1"/>
          <p:nvPr/>
        </p:nvSpPr>
        <p:spPr>
          <a:xfrm>
            <a:off x="10440997" y="2854075"/>
            <a:ext cx="177107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BC4ADC97-EF6C-4506-AC6B-427C861DFE00}"/>
              </a:ext>
            </a:extLst>
          </p:cNvPr>
          <p:cNvSpPr/>
          <p:nvPr/>
        </p:nvSpPr>
        <p:spPr>
          <a:xfrm>
            <a:off x="448875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E80CA601-BC6E-47B7-8214-73A46421E4F2}"/>
              </a:ext>
            </a:extLst>
          </p:cNvPr>
          <p:cNvSpPr/>
          <p:nvPr/>
        </p:nvSpPr>
        <p:spPr>
          <a:xfrm>
            <a:off x="595099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9C55F86F-DD64-4E57-9B9A-5684B8AB9DA6}"/>
              </a:ext>
            </a:extLst>
          </p:cNvPr>
          <p:cNvSpPr/>
          <p:nvPr/>
        </p:nvSpPr>
        <p:spPr>
          <a:xfrm>
            <a:off x="5950993" y="2988434"/>
            <a:ext cx="1409585" cy="486154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D49EBC8C-56F1-43AB-9385-6AD5F1C9A326}"/>
              </a:ext>
            </a:extLst>
          </p:cNvPr>
          <p:cNvGrpSpPr/>
          <p:nvPr/>
        </p:nvGrpSpPr>
        <p:grpSpPr>
          <a:xfrm>
            <a:off x="6878957" y="6001738"/>
            <a:ext cx="528752" cy="528752"/>
            <a:chOff x="2921677" y="5396943"/>
            <a:chExt cx="528752" cy="528752"/>
          </a:xfrm>
        </p:grpSpPr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5F5E989C-AFE2-4847-8D2B-925C4A594B08}"/>
                </a:ext>
              </a:extLst>
            </p:cNvPr>
            <p:cNvSpPr/>
            <p:nvPr/>
          </p:nvSpPr>
          <p:spPr>
            <a:xfrm>
              <a:off x="2921677" y="5396943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B1F7C457-0FF7-4D0C-9A80-E8D78124C521}"/>
                </a:ext>
              </a:extLst>
            </p:cNvPr>
            <p:cNvGrpSpPr/>
            <p:nvPr/>
          </p:nvGrpSpPr>
          <p:grpSpPr>
            <a:xfrm>
              <a:off x="3036997" y="5512263"/>
              <a:ext cx="298112" cy="298112"/>
              <a:chOff x="9507091" y="2579709"/>
              <a:chExt cx="241926" cy="241926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BC674CC7-33ED-441A-B739-426C89642489}"/>
                  </a:ext>
                </a:extLst>
              </p:cNvPr>
              <p:cNvSpPr/>
              <p:nvPr/>
            </p:nvSpPr>
            <p:spPr>
              <a:xfrm>
                <a:off x="9507091" y="2579709"/>
                <a:ext cx="241926" cy="2419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Freeform 879">
                <a:extLst>
                  <a:ext uri="{FF2B5EF4-FFF2-40B4-BE49-F238E27FC236}">
                    <a16:creationId xmlns:a16="http://schemas.microsoft.com/office/drawing/2014/main" id="{9A140047-BDA0-4BD2-B98D-B286CD07C86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7091" y="2579709"/>
                <a:ext cx="241926" cy="241926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397 w 502"/>
                  <a:gd name="T11" fmla="*/ 230 h 502"/>
                  <a:gd name="T12" fmla="*/ 376 w 502"/>
                  <a:gd name="T13" fmla="*/ 209 h 502"/>
                  <a:gd name="T14" fmla="*/ 293 w 502"/>
                  <a:gd name="T15" fmla="*/ 209 h 502"/>
                  <a:gd name="T16" fmla="*/ 293 w 502"/>
                  <a:gd name="T17" fmla="*/ 125 h 502"/>
                  <a:gd name="T18" fmla="*/ 272 w 502"/>
                  <a:gd name="T19" fmla="*/ 104 h 502"/>
                  <a:gd name="T20" fmla="*/ 230 w 502"/>
                  <a:gd name="T21" fmla="*/ 104 h 502"/>
                  <a:gd name="T22" fmla="*/ 209 w 502"/>
                  <a:gd name="T23" fmla="*/ 125 h 502"/>
                  <a:gd name="T24" fmla="*/ 209 w 502"/>
                  <a:gd name="T25" fmla="*/ 209 h 502"/>
                  <a:gd name="T26" fmla="*/ 125 w 502"/>
                  <a:gd name="T27" fmla="*/ 209 h 502"/>
                  <a:gd name="T28" fmla="*/ 104 w 502"/>
                  <a:gd name="T29" fmla="*/ 230 h 502"/>
                  <a:gd name="T30" fmla="*/ 104 w 502"/>
                  <a:gd name="T31" fmla="*/ 272 h 502"/>
                  <a:gd name="T32" fmla="*/ 125 w 502"/>
                  <a:gd name="T33" fmla="*/ 293 h 502"/>
                  <a:gd name="T34" fmla="*/ 209 w 502"/>
                  <a:gd name="T35" fmla="*/ 293 h 502"/>
                  <a:gd name="T36" fmla="*/ 209 w 502"/>
                  <a:gd name="T37" fmla="*/ 376 h 502"/>
                  <a:gd name="T38" fmla="*/ 230 w 502"/>
                  <a:gd name="T39" fmla="*/ 397 h 502"/>
                  <a:gd name="T40" fmla="*/ 272 w 502"/>
                  <a:gd name="T41" fmla="*/ 397 h 502"/>
                  <a:gd name="T42" fmla="*/ 293 w 502"/>
                  <a:gd name="T43" fmla="*/ 376 h 502"/>
                  <a:gd name="T44" fmla="*/ 293 w 502"/>
                  <a:gd name="T45" fmla="*/ 293 h 502"/>
                  <a:gd name="T46" fmla="*/ 376 w 502"/>
                  <a:gd name="T47" fmla="*/ 293 h 502"/>
                  <a:gd name="T48" fmla="*/ 397 w 502"/>
                  <a:gd name="T49" fmla="*/ 272 h 502"/>
                  <a:gd name="T50" fmla="*/ 397 w 502"/>
                  <a:gd name="T51" fmla="*/ 23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2" y="502"/>
                      <a:pt x="0" y="389"/>
                      <a:pt x="0" y="251"/>
                    </a:cubicBezTo>
                    <a:cubicBezTo>
                      <a:pt x="0" y="112"/>
                      <a:pt x="112" y="0"/>
                      <a:pt x="251" y="0"/>
                    </a:cubicBezTo>
                    <a:cubicBezTo>
                      <a:pt x="389" y="0"/>
                      <a:pt x="502" y="112"/>
                      <a:pt x="502" y="251"/>
                    </a:cubicBezTo>
                    <a:cubicBezTo>
                      <a:pt x="502" y="389"/>
                      <a:pt x="389" y="502"/>
                      <a:pt x="251" y="502"/>
                    </a:cubicBezTo>
                    <a:close/>
                    <a:moveTo>
                      <a:pt x="397" y="230"/>
                    </a:moveTo>
                    <a:cubicBezTo>
                      <a:pt x="397" y="218"/>
                      <a:pt x="388" y="209"/>
                      <a:pt x="376" y="209"/>
                    </a:cubicBezTo>
                    <a:cubicBezTo>
                      <a:pt x="293" y="209"/>
                      <a:pt x="293" y="209"/>
                      <a:pt x="293" y="209"/>
                    </a:cubicBezTo>
                    <a:cubicBezTo>
                      <a:pt x="293" y="125"/>
                      <a:pt x="293" y="125"/>
                      <a:pt x="293" y="125"/>
                    </a:cubicBezTo>
                    <a:cubicBezTo>
                      <a:pt x="293" y="114"/>
                      <a:pt x="283" y="104"/>
                      <a:pt x="272" y="104"/>
                    </a:cubicBezTo>
                    <a:cubicBezTo>
                      <a:pt x="230" y="104"/>
                      <a:pt x="230" y="104"/>
                      <a:pt x="230" y="104"/>
                    </a:cubicBezTo>
                    <a:cubicBezTo>
                      <a:pt x="218" y="104"/>
                      <a:pt x="209" y="114"/>
                      <a:pt x="209" y="125"/>
                    </a:cubicBezTo>
                    <a:cubicBezTo>
                      <a:pt x="209" y="209"/>
                      <a:pt x="209" y="209"/>
                      <a:pt x="209" y="209"/>
                    </a:cubicBezTo>
                    <a:cubicBezTo>
                      <a:pt x="125" y="209"/>
                      <a:pt x="125" y="209"/>
                      <a:pt x="125" y="209"/>
                    </a:cubicBezTo>
                    <a:cubicBezTo>
                      <a:pt x="114" y="209"/>
                      <a:pt x="104" y="218"/>
                      <a:pt x="104" y="230"/>
                    </a:cubicBezTo>
                    <a:cubicBezTo>
                      <a:pt x="104" y="272"/>
                      <a:pt x="104" y="272"/>
                      <a:pt x="104" y="272"/>
                    </a:cubicBezTo>
                    <a:cubicBezTo>
                      <a:pt x="104" y="283"/>
                      <a:pt x="114" y="293"/>
                      <a:pt x="125" y="293"/>
                    </a:cubicBezTo>
                    <a:cubicBezTo>
                      <a:pt x="209" y="293"/>
                      <a:pt x="209" y="293"/>
                      <a:pt x="209" y="293"/>
                    </a:cubicBezTo>
                    <a:cubicBezTo>
                      <a:pt x="209" y="376"/>
                      <a:pt x="209" y="376"/>
                      <a:pt x="209" y="376"/>
                    </a:cubicBezTo>
                    <a:cubicBezTo>
                      <a:pt x="209" y="388"/>
                      <a:pt x="218" y="397"/>
                      <a:pt x="230" y="397"/>
                    </a:cubicBezTo>
                    <a:cubicBezTo>
                      <a:pt x="272" y="397"/>
                      <a:pt x="272" y="397"/>
                      <a:pt x="272" y="397"/>
                    </a:cubicBezTo>
                    <a:cubicBezTo>
                      <a:pt x="283" y="397"/>
                      <a:pt x="293" y="388"/>
                      <a:pt x="293" y="376"/>
                    </a:cubicBezTo>
                    <a:cubicBezTo>
                      <a:pt x="293" y="293"/>
                      <a:pt x="293" y="293"/>
                      <a:pt x="293" y="293"/>
                    </a:cubicBezTo>
                    <a:cubicBezTo>
                      <a:pt x="376" y="293"/>
                      <a:pt x="376" y="293"/>
                      <a:pt x="376" y="293"/>
                    </a:cubicBezTo>
                    <a:cubicBezTo>
                      <a:pt x="388" y="293"/>
                      <a:pt x="397" y="283"/>
                      <a:pt x="397" y="272"/>
                    </a:cubicBezTo>
                    <a:lnTo>
                      <a:pt x="397" y="2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5122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5125D0E0-8636-44E3-BC95-B2C0710F86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3787518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F87C656D-1028-497A-8F70-457D7A6278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4459306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3E7833E0-2113-4416-A223-30C0C36394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5131095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9" name="Picture 2" descr="Symbol für externen link - Kostenlose schnittstelle Icons">
            <a:extLst>
              <a:ext uri="{FF2B5EF4-FFF2-40B4-BE49-F238E27FC236}">
                <a16:creationId xmlns:a16="http://schemas.microsoft.com/office/drawing/2014/main" id="{7077BE7B-DCF0-41CA-BEAE-FFC2CC80AB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494" y="5812526"/>
            <a:ext cx="308411" cy="30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93172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BE1A15C4-4319-44F8-BED0-BF223C1557D2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BEB3F7C-BD39-4C95-8820-988EB706C303}"/>
              </a:ext>
            </a:extLst>
          </p:cNvPr>
          <p:cNvSpPr/>
          <p:nvPr/>
        </p:nvSpPr>
        <p:spPr>
          <a:xfrm>
            <a:off x="4173376" y="1952911"/>
            <a:ext cx="3453210" cy="9011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0: Overview page of my matche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5F73B77-9BA3-4FC8-942C-59D8039F784D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806">
            <a:extLst>
              <a:ext uri="{FF2B5EF4-FFF2-40B4-BE49-F238E27FC236}">
                <a16:creationId xmlns:a16="http://schemas.microsoft.com/office/drawing/2014/main" id="{CE174B8B-A958-479C-AB1C-4692BD889A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1380">
            <a:extLst>
              <a:ext uri="{FF2B5EF4-FFF2-40B4-BE49-F238E27FC236}">
                <a16:creationId xmlns:a16="http://schemas.microsoft.com/office/drawing/2014/main" id="{6CD4078B-1E8F-42F7-9517-C9A36C3ADC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FB3641E-ABAE-49C5-82C0-964D08A18201}"/>
              </a:ext>
            </a:extLst>
          </p:cNvPr>
          <p:cNvGrpSpPr/>
          <p:nvPr/>
        </p:nvGrpSpPr>
        <p:grpSpPr>
          <a:xfrm>
            <a:off x="5492679" y="1146393"/>
            <a:ext cx="735241" cy="418511"/>
            <a:chOff x="8597394" y="2882013"/>
            <a:chExt cx="960944" cy="54698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0D25E18-FEDE-4B90-B3DD-A10B67469022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C0991E-6555-470D-A8C6-BA286D250192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221E14F9-84B5-4B37-8A3A-D46A030B444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400A6D8-30C4-4C77-8984-70D891AB577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8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040C6AB0-A6CF-48A0-8E83-5ED3002DB2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3BC3D70C-C265-4CB9-9E9A-74A5581656CD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5D4EE18D-2BD5-433A-8674-72BB83D5EF75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8DC0C7-F806-452B-B271-65F6F8FD7A7E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Fat Fox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9723CE-F17B-4730-AFD5-00FEC29AC3B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631FAA6-6AF6-4761-A437-188B41015A14}"/>
              </a:ext>
            </a:extLst>
          </p:cNvPr>
          <p:cNvSpPr txBox="1"/>
          <p:nvPr/>
        </p:nvSpPr>
        <p:spPr>
          <a:xfrm>
            <a:off x="4131202" y="1659164"/>
            <a:ext cx="3540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New Match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EAA0729-813A-4B3D-B41E-DE2FAB3C9193}"/>
              </a:ext>
            </a:extLst>
          </p:cNvPr>
          <p:cNvSpPr txBox="1"/>
          <p:nvPr/>
        </p:nvSpPr>
        <p:spPr>
          <a:xfrm>
            <a:off x="4361069" y="2595174"/>
            <a:ext cx="5673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ok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F6D1EB5-5139-4BCB-B625-6D52BB4B518D}"/>
              </a:ext>
            </a:extLst>
          </p:cNvPr>
          <p:cNvSpPr/>
          <p:nvPr/>
        </p:nvSpPr>
        <p:spPr>
          <a:xfrm>
            <a:off x="7243678" y="1163793"/>
            <a:ext cx="120375" cy="120375"/>
          </a:xfrm>
          <a:prstGeom prst="ellipse">
            <a:avLst/>
          </a:prstGeom>
          <a:solidFill>
            <a:srgbClr val="C8AA6E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1BCAC55-74A1-402A-953E-42BC62F63B9E}"/>
              </a:ext>
            </a:extLst>
          </p:cNvPr>
          <p:cNvGrpSpPr/>
          <p:nvPr/>
        </p:nvGrpSpPr>
        <p:grpSpPr>
          <a:xfrm>
            <a:off x="4380357" y="2043684"/>
            <a:ext cx="528752" cy="528752"/>
            <a:chOff x="4301585" y="1993350"/>
            <a:chExt cx="528752" cy="52875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D7882760-0C98-4C65-83CC-431BF5CBC48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6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ECFF65AA-F9AC-45B8-BCC3-98012BA98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F333723-00B4-4494-98C3-B3562B8ECE46}"/>
              </a:ext>
            </a:extLst>
          </p:cNvPr>
          <p:cNvGrpSpPr/>
          <p:nvPr/>
        </p:nvGrpSpPr>
        <p:grpSpPr>
          <a:xfrm>
            <a:off x="5008489" y="2043684"/>
            <a:ext cx="528752" cy="528752"/>
            <a:chOff x="4966407" y="1993350"/>
            <a:chExt cx="528752" cy="528752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D4D78BD-48CB-4385-A487-F6612D6BF2D0}"/>
                </a:ext>
              </a:extLst>
            </p:cNvPr>
            <p:cNvSpPr/>
            <p:nvPr/>
          </p:nvSpPr>
          <p:spPr>
            <a:xfrm>
              <a:off x="4966407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 descr="Category:Role icons | League of Legends Wiki | Fandom">
              <a:extLst>
                <a:ext uri="{FF2B5EF4-FFF2-40B4-BE49-F238E27FC236}">
                  <a16:creationId xmlns:a16="http://schemas.microsoft.com/office/drawing/2014/main" id="{517C3EED-4A17-473F-9980-72BEAD4E0A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035" y="2056845"/>
              <a:ext cx="396580" cy="396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D02F3F2-EE5E-40CA-8DAB-D55DA999905F}"/>
              </a:ext>
            </a:extLst>
          </p:cNvPr>
          <p:cNvGrpSpPr/>
          <p:nvPr/>
        </p:nvGrpSpPr>
        <p:grpSpPr>
          <a:xfrm>
            <a:off x="6892883" y="2043684"/>
            <a:ext cx="528752" cy="528752"/>
            <a:chOff x="6960872" y="1993350"/>
            <a:chExt cx="528752" cy="528752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55AB5FB9-427D-41AB-A4EF-C7C77A0E4BFB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8FF18D9E-6F8B-4F21-A1A0-B303791934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A46D3FD-B005-40A4-A9D0-C7F331C989CB}"/>
              </a:ext>
            </a:extLst>
          </p:cNvPr>
          <p:cNvGrpSpPr/>
          <p:nvPr/>
        </p:nvGrpSpPr>
        <p:grpSpPr>
          <a:xfrm>
            <a:off x="6264752" y="2043684"/>
            <a:ext cx="528752" cy="528752"/>
            <a:chOff x="6296051" y="1993350"/>
            <a:chExt cx="528752" cy="528752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537676C-2B5B-410B-99C2-AE00933B42D7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2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D5BCF1BD-B09A-4100-941D-9725567655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AC5E6AE-CAE0-4708-BB85-280A091D9A5A}"/>
              </a:ext>
            </a:extLst>
          </p:cNvPr>
          <p:cNvGrpSpPr/>
          <p:nvPr/>
        </p:nvGrpSpPr>
        <p:grpSpPr>
          <a:xfrm>
            <a:off x="5636621" y="2043684"/>
            <a:ext cx="528752" cy="528752"/>
            <a:chOff x="5631229" y="1993350"/>
            <a:chExt cx="528752" cy="528752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E2828DB-6E02-4255-B426-F05F92CF6DC2}"/>
                </a:ext>
              </a:extLst>
            </p:cNvPr>
            <p:cNvSpPr/>
            <p:nvPr/>
          </p:nvSpPr>
          <p:spPr>
            <a:xfrm>
              <a:off x="5631229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4" name="Picture 10" descr="Jungle - Discord Emoji">
              <a:extLst>
                <a:ext uri="{FF2B5EF4-FFF2-40B4-BE49-F238E27FC236}">
                  <a16:creationId xmlns:a16="http://schemas.microsoft.com/office/drawing/2014/main" id="{D04D2240-7107-4522-9C37-7750D0F9A3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6602" y="2038722"/>
              <a:ext cx="438007" cy="438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A0EE1A4-78E3-4BDC-B3F3-07552CB331BA}"/>
              </a:ext>
            </a:extLst>
          </p:cNvPr>
          <p:cNvSpPr txBox="1"/>
          <p:nvPr/>
        </p:nvSpPr>
        <p:spPr>
          <a:xfrm>
            <a:off x="8758855" y="2859262"/>
            <a:ext cx="1678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67" name="Arrow: Chevron 66">
            <a:extLst>
              <a:ext uri="{FF2B5EF4-FFF2-40B4-BE49-F238E27FC236}">
                <a16:creationId xmlns:a16="http://schemas.microsoft.com/office/drawing/2014/main" id="{B183D61C-DB8D-4309-AEC7-1E4389D026CB}"/>
              </a:ext>
            </a:extLst>
          </p:cNvPr>
          <p:cNvSpPr/>
          <p:nvPr/>
        </p:nvSpPr>
        <p:spPr>
          <a:xfrm>
            <a:off x="7479926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id="{C645FD19-9871-478A-9FE0-095F092A3D0E}"/>
              </a:ext>
            </a:extLst>
          </p:cNvPr>
          <p:cNvSpPr/>
          <p:nvPr/>
        </p:nvSpPr>
        <p:spPr>
          <a:xfrm rot="10800000">
            <a:off x="4184387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F60C633-C891-49B5-A3DD-E44D711BC15E}"/>
              </a:ext>
            </a:extLst>
          </p:cNvPr>
          <p:cNvSpPr txBox="1"/>
          <p:nvPr/>
        </p:nvSpPr>
        <p:spPr>
          <a:xfrm>
            <a:off x="4925219" y="2595174"/>
            <a:ext cx="6952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Magico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17D59B8-BBF4-4454-AE70-F0DCCCFB5715}"/>
              </a:ext>
            </a:extLst>
          </p:cNvPr>
          <p:cNvSpPr txBox="1"/>
          <p:nvPr/>
        </p:nvSpPr>
        <p:spPr>
          <a:xfrm>
            <a:off x="553884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unglebo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CF8D878-B6A5-400F-8E30-4DF832FFAB00}"/>
              </a:ext>
            </a:extLst>
          </p:cNvPr>
          <p:cNvSpPr txBox="1"/>
          <p:nvPr/>
        </p:nvSpPr>
        <p:spPr>
          <a:xfrm>
            <a:off x="616697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Dr.Mundo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FB38C39-B62C-4732-A6D3-2E2505C93879}"/>
              </a:ext>
            </a:extLst>
          </p:cNvPr>
          <p:cNvSpPr txBox="1"/>
          <p:nvPr/>
        </p:nvSpPr>
        <p:spPr>
          <a:xfrm>
            <a:off x="6795108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Blitz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DBDE8FF1-BE69-419A-82D4-B4A5955AD421}"/>
              </a:ext>
            </a:extLst>
          </p:cNvPr>
          <p:cNvSpPr/>
          <p:nvPr/>
        </p:nvSpPr>
        <p:spPr>
          <a:xfrm>
            <a:off x="4380357" y="3677348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21AC109A-0686-4AFC-A506-5D0B9BCAC3D8}"/>
              </a:ext>
            </a:extLst>
          </p:cNvPr>
          <p:cNvSpPr/>
          <p:nvPr/>
        </p:nvSpPr>
        <p:spPr>
          <a:xfrm>
            <a:off x="4380357" y="5020924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2BA0873A-C687-4005-81F1-40285512ED6F}"/>
              </a:ext>
            </a:extLst>
          </p:cNvPr>
          <p:cNvSpPr/>
          <p:nvPr/>
        </p:nvSpPr>
        <p:spPr>
          <a:xfrm>
            <a:off x="4380357" y="4349136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B25CA57-C098-43B8-B741-121DB2E28BDE}"/>
              </a:ext>
            </a:extLst>
          </p:cNvPr>
          <p:cNvGrpSpPr/>
          <p:nvPr/>
        </p:nvGrpSpPr>
        <p:grpSpPr>
          <a:xfrm>
            <a:off x="4979637" y="3730509"/>
            <a:ext cx="2441998" cy="422430"/>
            <a:chOff x="4928694" y="3421685"/>
            <a:chExt cx="696819" cy="422430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91370BD-C165-4258-8261-86C000EF0E5A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Tryharding ranked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415E400-843A-48A0-ABB4-2E6F48102D67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5)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C417DF6-EEA1-4285-A62C-DCCE74A1B8DC}"/>
              </a:ext>
            </a:extLst>
          </p:cNvPr>
          <p:cNvGrpSpPr/>
          <p:nvPr/>
        </p:nvGrpSpPr>
        <p:grpSpPr>
          <a:xfrm>
            <a:off x="4979637" y="4402297"/>
            <a:ext cx="2436647" cy="422430"/>
            <a:chOff x="4928694" y="3421685"/>
            <a:chExt cx="696819" cy="422430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C855A7D-620A-41A4-9D4C-5A220CF05BEB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Random chill 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740FA77-49AF-4B0F-9A35-13678B1C2EA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0)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AA295E4-5423-4164-9E49-F8EE4156F451}"/>
              </a:ext>
            </a:extLst>
          </p:cNvPr>
          <p:cNvGrpSpPr/>
          <p:nvPr/>
        </p:nvGrpSpPr>
        <p:grpSpPr>
          <a:xfrm>
            <a:off x="4979637" y="5074085"/>
            <a:ext cx="2441998" cy="422430"/>
            <a:chOff x="4928694" y="3421685"/>
            <a:chExt cx="696819" cy="422430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ACF0164-6A45-4953-A103-64DF891D1669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ARAM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F1D1048-6602-4FDF-AF37-E391EC93C3F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4)</a:t>
              </a:r>
            </a:p>
          </p:txBody>
        </p:sp>
      </p:grpSp>
      <p:sp>
        <p:nvSpPr>
          <p:cNvPr id="63" name="Oval 62">
            <a:extLst>
              <a:ext uri="{FF2B5EF4-FFF2-40B4-BE49-F238E27FC236}">
                <a16:creationId xmlns:a16="http://schemas.microsoft.com/office/drawing/2014/main" id="{08B0BF52-182A-467A-A694-FFF1F202FE81}"/>
              </a:ext>
            </a:extLst>
          </p:cNvPr>
          <p:cNvSpPr/>
          <p:nvPr/>
        </p:nvSpPr>
        <p:spPr>
          <a:xfrm>
            <a:off x="4763811" y="3672708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491D11-444D-44A2-A05E-FA1AB3F572BB}"/>
              </a:ext>
            </a:extLst>
          </p:cNvPr>
          <p:cNvSpPr/>
          <p:nvPr/>
        </p:nvSpPr>
        <p:spPr>
          <a:xfrm>
            <a:off x="4763811" y="5013897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20DE401-E7AC-4BAC-9C65-F6A837421BF5}"/>
              </a:ext>
            </a:extLst>
          </p:cNvPr>
          <p:cNvSpPr/>
          <p:nvPr/>
        </p:nvSpPr>
        <p:spPr>
          <a:xfrm>
            <a:off x="4763811" y="431849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7D4D68D-4410-4080-933E-952A98055B8C}"/>
              </a:ext>
            </a:extLst>
          </p:cNvPr>
          <p:cNvSpPr/>
          <p:nvPr/>
        </p:nvSpPr>
        <p:spPr>
          <a:xfrm>
            <a:off x="4383920" y="5702356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EB76E4E-9392-4F98-92A7-F0312E394987}"/>
              </a:ext>
            </a:extLst>
          </p:cNvPr>
          <p:cNvGrpSpPr/>
          <p:nvPr/>
        </p:nvGrpSpPr>
        <p:grpSpPr>
          <a:xfrm>
            <a:off x="4983200" y="5755517"/>
            <a:ext cx="2436647" cy="422430"/>
            <a:chOff x="4928694" y="3421685"/>
            <a:chExt cx="696819" cy="422430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295934A1-58D6-4F43-8D8B-E5D0879528D5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Delivery guys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1775A62C-D67F-465F-900A-E078295DDF41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1)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6D2E38DF-3F69-43CE-868B-21DDC6F3AB31}"/>
              </a:ext>
            </a:extLst>
          </p:cNvPr>
          <p:cNvSpPr/>
          <p:nvPr/>
        </p:nvSpPr>
        <p:spPr>
          <a:xfrm>
            <a:off x="4767374" y="567171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3D1714F-2871-4535-A78B-63B6944FD42F}"/>
              </a:ext>
            </a:extLst>
          </p:cNvPr>
          <p:cNvSpPr txBox="1"/>
          <p:nvPr/>
        </p:nvSpPr>
        <p:spPr>
          <a:xfrm>
            <a:off x="10440997" y="2854075"/>
            <a:ext cx="177107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BC4ADC97-EF6C-4506-AC6B-427C861DFE00}"/>
              </a:ext>
            </a:extLst>
          </p:cNvPr>
          <p:cNvSpPr/>
          <p:nvPr/>
        </p:nvSpPr>
        <p:spPr>
          <a:xfrm>
            <a:off x="448875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E80CA601-BC6E-47B7-8214-73A46421E4F2}"/>
              </a:ext>
            </a:extLst>
          </p:cNvPr>
          <p:cNvSpPr/>
          <p:nvPr/>
        </p:nvSpPr>
        <p:spPr>
          <a:xfrm>
            <a:off x="595099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9C55F86F-DD64-4E57-9B9A-5684B8AB9DA6}"/>
              </a:ext>
            </a:extLst>
          </p:cNvPr>
          <p:cNvSpPr/>
          <p:nvPr/>
        </p:nvSpPr>
        <p:spPr>
          <a:xfrm>
            <a:off x="4488752" y="2997111"/>
            <a:ext cx="1409585" cy="486154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pic>
        <p:nvPicPr>
          <p:cNvPr id="2050" name="Picture 2" descr="Fist Icon - 13099 - Dryicons">
            <a:extLst>
              <a:ext uri="{FF2B5EF4-FFF2-40B4-BE49-F238E27FC236}">
                <a16:creationId xmlns:a16="http://schemas.microsoft.com/office/drawing/2014/main" id="{8CCBD4B7-FF95-4D89-B1F3-FC728F4BC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3041" y="3780032"/>
            <a:ext cx="323384" cy="323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Weed - icon by Adioma">
            <a:extLst>
              <a:ext uri="{FF2B5EF4-FFF2-40B4-BE49-F238E27FC236}">
                <a16:creationId xmlns:a16="http://schemas.microsoft.com/office/drawing/2014/main" id="{BE611B91-91E7-438F-A7A7-32C0A1D03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59" y="4456638"/>
            <a:ext cx="313747" cy="31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Fun Icon #133594 - Free Icons Library">
            <a:extLst>
              <a:ext uri="{FF2B5EF4-FFF2-40B4-BE49-F238E27FC236}">
                <a16:creationId xmlns:a16="http://schemas.microsoft.com/office/drawing/2014/main" id="{A72AA44B-5B41-4185-B130-591018BAB0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8325" y="5118892"/>
            <a:ext cx="332816" cy="332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 1201">
            <a:extLst>
              <a:ext uri="{FF2B5EF4-FFF2-40B4-BE49-F238E27FC236}">
                <a16:creationId xmlns:a16="http://schemas.microsoft.com/office/drawing/2014/main" id="{6D045A3B-EF74-4558-9257-91B75C646F7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12158" y="5860132"/>
            <a:ext cx="272277" cy="213199"/>
          </a:xfrm>
          <a:custGeom>
            <a:avLst/>
            <a:gdLst>
              <a:gd name="T0" fmla="*/ 670 w 670"/>
              <a:gd name="T1" fmla="*/ 408 h 523"/>
              <a:gd name="T2" fmla="*/ 659 w 670"/>
              <a:gd name="T3" fmla="*/ 418 h 523"/>
              <a:gd name="T4" fmla="*/ 628 w 670"/>
              <a:gd name="T5" fmla="*/ 418 h 523"/>
              <a:gd name="T6" fmla="*/ 628 w 670"/>
              <a:gd name="T7" fmla="*/ 460 h 523"/>
              <a:gd name="T8" fmla="*/ 565 w 670"/>
              <a:gd name="T9" fmla="*/ 523 h 523"/>
              <a:gd name="T10" fmla="*/ 502 w 670"/>
              <a:gd name="T11" fmla="*/ 460 h 523"/>
              <a:gd name="T12" fmla="*/ 502 w 670"/>
              <a:gd name="T13" fmla="*/ 418 h 523"/>
              <a:gd name="T14" fmla="*/ 168 w 670"/>
              <a:gd name="T15" fmla="*/ 418 h 523"/>
              <a:gd name="T16" fmla="*/ 168 w 670"/>
              <a:gd name="T17" fmla="*/ 460 h 523"/>
              <a:gd name="T18" fmla="*/ 105 w 670"/>
              <a:gd name="T19" fmla="*/ 523 h 523"/>
              <a:gd name="T20" fmla="*/ 42 w 670"/>
              <a:gd name="T21" fmla="*/ 460 h 523"/>
              <a:gd name="T22" fmla="*/ 42 w 670"/>
              <a:gd name="T23" fmla="*/ 418 h 523"/>
              <a:gd name="T24" fmla="*/ 11 w 670"/>
              <a:gd name="T25" fmla="*/ 418 h 523"/>
              <a:gd name="T26" fmla="*/ 0 w 670"/>
              <a:gd name="T27" fmla="*/ 408 h 523"/>
              <a:gd name="T28" fmla="*/ 0 w 670"/>
              <a:gd name="T29" fmla="*/ 282 h 523"/>
              <a:gd name="T30" fmla="*/ 74 w 670"/>
              <a:gd name="T31" fmla="*/ 209 h 523"/>
              <a:gd name="T32" fmla="*/ 83 w 670"/>
              <a:gd name="T33" fmla="*/ 209 h 523"/>
              <a:gd name="T34" fmla="*/ 117 w 670"/>
              <a:gd name="T35" fmla="*/ 72 h 523"/>
              <a:gd name="T36" fmla="*/ 210 w 670"/>
              <a:gd name="T37" fmla="*/ 0 h 523"/>
              <a:gd name="T38" fmla="*/ 460 w 670"/>
              <a:gd name="T39" fmla="*/ 0 h 523"/>
              <a:gd name="T40" fmla="*/ 553 w 670"/>
              <a:gd name="T41" fmla="*/ 72 h 523"/>
              <a:gd name="T42" fmla="*/ 587 w 670"/>
              <a:gd name="T43" fmla="*/ 209 h 523"/>
              <a:gd name="T44" fmla="*/ 596 w 670"/>
              <a:gd name="T45" fmla="*/ 209 h 523"/>
              <a:gd name="T46" fmla="*/ 670 w 670"/>
              <a:gd name="T47" fmla="*/ 282 h 523"/>
              <a:gd name="T48" fmla="*/ 670 w 670"/>
              <a:gd name="T49" fmla="*/ 408 h 523"/>
              <a:gd name="T50" fmla="*/ 105 w 670"/>
              <a:gd name="T51" fmla="*/ 262 h 523"/>
              <a:gd name="T52" fmla="*/ 53 w 670"/>
              <a:gd name="T53" fmla="*/ 314 h 523"/>
              <a:gd name="T54" fmla="*/ 105 w 670"/>
              <a:gd name="T55" fmla="*/ 366 h 523"/>
              <a:gd name="T56" fmla="*/ 157 w 670"/>
              <a:gd name="T57" fmla="*/ 314 h 523"/>
              <a:gd name="T58" fmla="*/ 105 w 670"/>
              <a:gd name="T59" fmla="*/ 262 h 523"/>
              <a:gd name="T60" fmla="*/ 501 w 670"/>
              <a:gd name="T61" fmla="*/ 209 h 523"/>
              <a:gd name="T62" fmla="*/ 472 w 670"/>
              <a:gd name="T63" fmla="*/ 93 h 523"/>
              <a:gd name="T64" fmla="*/ 460 w 670"/>
              <a:gd name="T65" fmla="*/ 84 h 523"/>
              <a:gd name="T66" fmla="*/ 210 w 670"/>
              <a:gd name="T67" fmla="*/ 84 h 523"/>
              <a:gd name="T68" fmla="*/ 198 w 670"/>
              <a:gd name="T69" fmla="*/ 93 h 523"/>
              <a:gd name="T70" fmla="*/ 169 w 670"/>
              <a:gd name="T71" fmla="*/ 209 h 523"/>
              <a:gd name="T72" fmla="*/ 501 w 670"/>
              <a:gd name="T73" fmla="*/ 209 h 523"/>
              <a:gd name="T74" fmla="*/ 565 w 670"/>
              <a:gd name="T75" fmla="*/ 262 h 523"/>
              <a:gd name="T76" fmla="*/ 513 w 670"/>
              <a:gd name="T77" fmla="*/ 314 h 523"/>
              <a:gd name="T78" fmla="*/ 565 w 670"/>
              <a:gd name="T79" fmla="*/ 366 h 523"/>
              <a:gd name="T80" fmla="*/ 617 w 670"/>
              <a:gd name="T81" fmla="*/ 314 h 523"/>
              <a:gd name="T82" fmla="*/ 565 w 670"/>
              <a:gd name="T83" fmla="*/ 262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70" h="523">
                <a:moveTo>
                  <a:pt x="670" y="408"/>
                </a:moveTo>
                <a:cubicBezTo>
                  <a:pt x="670" y="414"/>
                  <a:pt x="665" y="418"/>
                  <a:pt x="659" y="418"/>
                </a:cubicBezTo>
                <a:cubicBezTo>
                  <a:pt x="628" y="418"/>
                  <a:pt x="628" y="418"/>
                  <a:pt x="628" y="418"/>
                </a:cubicBezTo>
                <a:cubicBezTo>
                  <a:pt x="628" y="460"/>
                  <a:pt x="628" y="460"/>
                  <a:pt x="628" y="460"/>
                </a:cubicBezTo>
                <a:cubicBezTo>
                  <a:pt x="628" y="495"/>
                  <a:pt x="600" y="523"/>
                  <a:pt x="565" y="523"/>
                </a:cubicBezTo>
                <a:cubicBezTo>
                  <a:pt x="530" y="523"/>
                  <a:pt x="502" y="495"/>
                  <a:pt x="502" y="460"/>
                </a:cubicBezTo>
                <a:cubicBezTo>
                  <a:pt x="502" y="418"/>
                  <a:pt x="502" y="418"/>
                  <a:pt x="502" y="418"/>
                </a:cubicBezTo>
                <a:cubicBezTo>
                  <a:pt x="168" y="418"/>
                  <a:pt x="168" y="418"/>
                  <a:pt x="168" y="418"/>
                </a:cubicBezTo>
                <a:cubicBezTo>
                  <a:pt x="168" y="460"/>
                  <a:pt x="168" y="460"/>
                  <a:pt x="168" y="460"/>
                </a:cubicBezTo>
                <a:cubicBezTo>
                  <a:pt x="168" y="495"/>
                  <a:pt x="140" y="523"/>
                  <a:pt x="105" y="523"/>
                </a:cubicBezTo>
                <a:cubicBezTo>
                  <a:pt x="70" y="523"/>
                  <a:pt x="42" y="495"/>
                  <a:pt x="42" y="460"/>
                </a:cubicBezTo>
                <a:cubicBezTo>
                  <a:pt x="42" y="418"/>
                  <a:pt x="42" y="418"/>
                  <a:pt x="42" y="418"/>
                </a:cubicBezTo>
                <a:cubicBezTo>
                  <a:pt x="11" y="418"/>
                  <a:pt x="11" y="418"/>
                  <a:pt x="11" y="418"/>
                </a:cubicBezTo>
                <a:cubicBezTo>
                  <a:pt x="5" y="418"/>
                  <a:pt x="0" y="414"/>
                  <a:pt x="0" y="408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42"/>
                  <a:pt x="33" y="209"/>
                  <a:pt x="74" y="209"/>
                </a:cubicBezTo>
                <a:cubicBezTo>
                  <a:pt x="83" y="209"/>
                  <a:pt x="83" y="209"/>
                  <a:pt x="83" y="209"/>
                </a:cubicBezTo>
                <a:cubicBezTo>
                  <a:pt x="117" y="72"/>
                  <a:pt x="117" y="72"/>
                  <a:pt x="117" y="72"/>
                </a:cubicBezTo>
                <a:cubicBezTo>
                  <a:pt x="127" y="31"/>
                  <a:pt x="167" y="0"/>
                  <a:pt x="210" y="0"/>
                </a:cubicBezTo>
                <a:cubicBezTo>
                  <a:pt x="460" y="0"/>
                  <a:pt x="460" y="0"/>
                  <a:pt x="460" y="0"/>
                </a:cubicBezTo>
                <a:cubicBezTo>
                  <a:pt x="503" y="0"/>
                  <a:pt x="543" y="31"/>
                  <a:pt x="553" y="72"/>
                </a:cubicBezTo>
                <a:cubicBezTo>
                  <a:pt x="587" y="209"/>
                  <a:pt x="587" y="209"/>
                  <a:pt x="587" y="209"/>
                </a:cubicBezTo>
                <a:cubicBezTo>
                  <a:pt x="596" y="209"/>
                  <a:pt x="596" y="209"/>
                  <a:pt x="596" y="209"/>
                </a:cubicBezTo>
                <a:cubicBezTo>
                  <a:pt x="637" y="209"/>
                  <a:pt x="670" y="242"/>
                  <a:pt x="670" y="282"/>
                </a:cubicBezTo>
                <a:lnTo>
                  <a:pt x="670" y="408"/>
                </a:lnTo>
                <a:close/>
                <a:moveTo>
                  <a:pt x="105" y="262"/>
                </a:moveTo>
                <a:cubicBezTo>
                  <a:pt x="76" y="262"/>
                  <a:pt x="53" y="285"/>
                  <a:pt x="53" y="314"/>
                </a:cubicBezTo>
                <a:cubicBezTo>
                  <a:pt x="53" y="343"/>
                  <a:pt x="76" y="366"/>
                  <a:pt x="105" y="366"/>
                </a:cubicBezTo>
                <a:cubicBezTo>
                  <a:pt x="134" y="366"/>
                  <a:pt x="157" y="343"/>
                  <a:pt x="157" y="314"/>
                </a:cubicBezTo>
                <a:cubicBezTo>
                  <a:pt x="157" y="285"/>
                  <a:pt x="134" y="262"/>
                  <a:pt x="105" y="262"/>
                </a:cubicBezTo>
                <a:close/>
                <a:moveTo>
                  <a:pt x="501" y="209"/>
                </a:moveTo>
                <a:cubicBezTo>
                  <a:pt x="472" y="93"/>
                  <a:pt x="472" y="93"/>
                  <a:pt x="472" y="93"/>
                </a:cubicBezTo>
                <a:cubicBezTo>
                  <a:pt x="471" y="89"/>
                  <a:pt x="464" y="84"/>
                  <a:pt x="460" y="84"/>
                </a:cubicBezTo>
                <a:cubicBezTo>
                  <a:pt x="210" y="84"/>
                  <a:pt x="210" y="84"/>
                  <a:pt x="210" y="84"/>
                </a:cubicBezTo>
                <a:cubicBezTo>
                  <a:pt x="206" y="84"/>
                  <a:pt x="199" y="89"/>
                  <a:pt x="198" y="93"/>
                </a:cubicBezTo>
                <a:cubicBezTo>
                  <a:pt x="169" y="209"/>
                  <a:pt x="169" y="209"/>
                  <a:pt x="169" y="209"/>
                </a:cubicBezTo>
                <a:lnTo>
                  <a:pt x="501" y="209"/>
                </a:lnTo>
                <a:close/>
                <a:moveTo>
                  <a:pt x="565" y="262"/>
                </a:moveTo>
                <a:cubicBezTo>
                  <a:pt x="536" y="262"/>
                  <a:pt x="513" y="285"/>
                  <a:pt x="513" y="314"/>
                </a:cubicBezTo>
                <a:cubicBezTo>
                  <a:pt x="513" y="343"/>
                  <a:pt x="536" y="366"/>
                  <a:pt x="565" y="366"/>
                </a:cubicBezTo>
                <a:cubicBezTo>
                  <a:pt x="594" y="366"/>
                  <a:pt x="617" y="343"/>
                  <a:pt x="617" y="314"/>
                </a:cubicBezTo>
                <a:cubicBezTo>
                  <a:pt x="617" y="285"/>
                  <a:pt x="594" y="262"/>
                  <a:pt x="565" y="26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B3A14E7-78C5-492C-89A5-9C477493A6B0}"/>
              </a:ext>
            </a:extLst>
          </p:cNvPr>
          <p:cNvGrpSpPr/>
          <p:nvPr/>
        </p:nvGrpSpPr>
        <p:grpSpPr>
          <a:xfrm>
            <a:off x="6878957" y="6001738"/>
            <a:ext cx="528752" cy="528752"/>
            <a:chOff x="2921677" y="5396943"/>
            <a:chExt cx="528752" cy="528752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4D0F9FB6-87E0-4901-A4CB-9C00B7F47691}"/>
                </a:ext>
              </a:extLst>
            </p:cNvPr>
            <p:cNvSpPr/>
            <p:nvPr/>
          </p:nvSpPr>
          <p:spPr>
            <a:xfrm>
              <a:off x="2921677" y="5396943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67570AB5-4134-4A84-999C-F6B223A35052}"/>
                </a:ext>
              </a:extLst>
            </p:cNvPr>
            <p:cNvGrpSpPr/>
            <p:nvPr/>
          </p:nvGrpSpPr>
          <p:grpSpPr>
            <a:xfrm>
              <a:off x="3036997" y="5512263"/>
              <a:ext cx="298112" cy="298112"/>
              <a:chOff x="9507091" y="2579709"/>
              <a:chExt cx="241926" cy="241926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8ABA1801-476F-4341-849C-A3138A135EBD}"/>
                  </a:ext>
                </a:extLst>
              </p:cNvPr>
              <p:cNvSpPr/>
              <p:nvPr/>
            </p:nvSpPr>
            <p:spPr>
              <a:xfrm>
                <a:off x="9507091" y="2579709"/>
                <a:ext cx="241926" cy="2419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Freeform 879">
                <a:extLst>
                  <a:ext uri="{FF2B5EF4-FFF2-40B4-BE49-F238E27FC236}">
                    <a16:creationId xmlns:a16="http://schemas.microsoft.com/office/drawing/2014/main" id="{954B49B0-61CD-4F0D-8ABF-2BCA3116906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507091" y="2579709"/>
                <a:ext cx="241926" cy="241926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397 w 502"/>
                  <a:gd name="T11" fmla="*/ 230 h 502"/>
                  <a:gd name="T12" fmla="*/ 376 w 502"/>
                  <a:gd name="T13" fmla="*/ 209 h 502"/>
                  <a:gd name="T14" fmla="*/ 293 w 502"/>
                  <a:gd name="T15" fmla="*/ 209 h 502"/>
                  <a:gd name="T16" fmla="*/ 293 w 502"/>
                  <a:gd name="T17" fmla="*/ 125 h 502"/>
                  <a:gd name="T18" fmla="*/ 272 w 502"/>
                  <a:gd name="T19" fmla="*/ 104 h 502"/>
                  <a:gd name="T20" fmla="*/ 230 w 502"/>
                  <a:gd name="T21" fmla="*/ 104 h 502"/>
                  <a:gd name="T22" fmla="*/ 209 w 502"/>
                  <a:gd name="T23" fmla="*/ 125 h 502"/>
                  <a:gd name="T24" fmla="*/ 209 w 502"/>
                  <a:gd name="T25" fmla="*/ 209 h 502"/>
                  <a:gd name="T26" fmla="*/ 125 w 502"/>
                  <a:gd name="T27" fmla="*/ 209 h 502"/>
                  <a:gd name="T28" fmla="*/ 104 w 502"/>
                  <a:gd name="T29" fmla="*/ 230 h 502"/>
                  <a:gd name="T30" fmla="*/ 104 w 502"/>
                  <a:gd name="T31" fmla="*/ 272 h 502"/>
                  <a:gd name="T32" fmla="*/ 125 w 502"/>
                  <a:gd name="T33" fmla="*/ 293 h 502"/>
                  <a:gd name="T34" fmla="*/ 209 w 502"/>
                  <a:gd name="T35" fmla="*/ 293 h 502"/>
                  <a:gd name="T36" fmla="*/ 209 w 502"/>
                  <a:gd name="T37" fmla="*/ 376 h 502"/>
                  <a:gd name="T38" fmla="*/ 230 w 502"/>
                  <a:gd name="T39" fmla="*/ 397 h 502"/>
                  <a:gd name="T40" fmla="*/ 272 w 502"/>
                  <a:gd name="T41" fmla="*/ 397 h 502"/>
                  <a:gd name="T42" fmla="*/ 293 w 502"/>
                  <a:gd name="T43" fmla="*/ 376 h 502"/>
                  <a:gd name="T44" fmla="*/ 293 w 502"/>
                  <a:gd name="T45" fmla="*/ 293 h 502"/>
                  <a:gd name="T46" fmla="*/ 376 w 502"/>
                  <a:gd name="T47" fmla="*/ 293 h 502"/>
                  <a:gd name="T48" fmla="*/ 397 w 502"/>
                  <a:gd name="T49" fmla="*/ 272 h 502"/>
                  <a:gd name="T50" fmla="*/ 397 w 502"/>
                  <a:gd name="T51" fmla="*/ 230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2" y="502"/>
                      <a:pt x="0" y="389"/>
                      <a:pt x="0" y="251"/>
                    </a:cubicBezTo>
                    <a:cubicBezTo>
                      <a:pt x="0" y="112"/>
                      <a:pt x="112" y="0"/>
                      <a:pt x="251" y="0"/>
                    </a:cubicBezTo>
                    <a:cubicBezTo>
                      <a:pt x="389" y="0"/>
                      <a:pt x="502" y="112"/>
                      <a:pt x="502" y="251"/>
                    </a:cubicBezTo>
                    <a:cubicBezTo>
                      <a:pt x="502" y="389"/>
                      <a:pt x="389" y="502"/>
                      <a:pt x="251" y="502"/>
                    </a:cubicBezTo>
                    <a:close/>
                    <a:moveTo>
                      <a:pt x="397" y="230"/>
                    </a:moveTo>
                    <a:cubicBezTo>
                      <a:pt x="397" y="218"/>
                      <a:pt x="388" y="209"/>
                      <a:pt x="376" y="209"/>
                    </a:cubicBezTo>
                    <a:cubicBezTo>
                      <a:pt x="293" y="209"/>
                      <a:pt x="293" y="209"/>
                      <a:pt x="293" y="209"/>
                    </a:cubicBezTo>
                    <a:cubicBezTo>
                      <a:pt x="293" y="125"/>
                      <a:pt x="293" y="125"/>
                      <a:pt x="293" y="125"/>
                    </a:cubicBezTo>
                    <a:cubicBezTo>
                      <a:pt x="293" y="114"/>
                      <a:pt x="283" y="104"/>
                      <a:pt x="272" y="104"/>
                    </a:cubicBezTo>
                    <a:cubicBezTo>
                      <a:pt x="230" y="104"/>
                      <a:pt x="230" y="104"/>
                      <a:pt x="230" y="104"/>
                    </a:cubicBezTo>
                    <a:cubicBezTo>
                      <a:pt x="218" y="104"/>
                      <a:pt x="209" y="114"/>
                      <a:pt x="209" y="125"/>
                    </a:cubicBezTo>
                    <a:cubicBezTo>
                      <a:pt x="209" y="209"/>
                      <a:pt x="209" y="209"/>
                      <a:pt x="209" y="209"/>
                    </a:cubicBezTo>
                    <a:cubicBezTo>
                      <a:pt x="125" y="209"/>
                      <a:pt x="125" y="209"/>
                      <a:pt x="125" y="209"/>
                    </a:cubicBezTo>
                    <a:cubicBezTo>
                      <a:pt x="114" y="209"/>
                      <a:pt x="104" y="218"/>
                      <a:pt x="104" y="230"/>
                    </a:cubicBezTo>
                    <a:cubicBezTo>
                      <a:pt x="104" y="272"/>
                      <a:pt x="104" y="272"/>
                      <a:pt x="104" y="272"/>
                    </a:cubicBezTo>
                    <a:cubicBezTo>
                      <a:pt x="104" y="283"/>
                      <a:pt x="114" y="293"/>
                      <a:pt x="125" y="293"/>
                    </a:cubicBezTo>
                    <a:cubicBezTo>
                      <a:pt x="209" y="293"/>
                      <a:pt x="209" y="293"/>
                      <a:pt x="209" y="293"/>
                    </a:cubicBezTo>
                    <a:cubicBezTo>
                      <a:pt x="209" y="376"/>
                      <a:pt x="209" y="376"/>
                      <a:pt x="209" y="376"/>
                    </a:cubicBezTo>
                    <a:cubicBezTo>
                      <a:pt x="209" y="388"/>
                      <a:pt x="218" y="397"/>
                      <a:pt x="230" y="397"/>
                    </a:cubicBezTo>
                    <a:cubicBezTo>
                      <a:pt x="272" y="397"/>
                      <a:pt x="272" y="397"/>
                      <a:pt x="272" y="397"/>
                    </a:cubicBezTo>
                    <a:cubicBezTo>
                      <a:pt x="283" y="397"/>
                      <a:pt x="293" y="388"/>
                      <a:pt x="293" y="376"/>
                    </a:cubicBezTo>
                    <a:cubicBezTo>
                      <a:pt x="293" y="293"/>
                      <a:pt x="293" y="293"/>
                      <a:pt x="293" y="293"/>
                    </a:cubicBezTo>
                    <a:cubicBezTo>
                      <a:pt x="376" y="293"/>
                      <a:pt x="376" y="293"/>
                      <a:pt x="376" y="293"/>
                    </a:cubicBezTo>
                    <a:cubicBezTo>
                      <a:pt x="388" y="293"/>
                      <a:pt x="397" y="283"/>
                      <a:pt x="397" y="272"/>
                    </a:cubicBezTo>
                    <a:lnTo>
                      <a:pt x="397" y="2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B7C4FB4-95FD-4504-A444-CFD60698AC0F}"/>
              </a:ext>
            </a:extLst>
          </p:cNvPr>
          <p:cNvSpPr/>
          <p:nvPr/>
        </p:nvSpPr>
        <p:spPr>
          <a:xfrm>
            <a:off x="8359538" y="1005594"/>
            <a:ext cx="2197916" cy="14735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Groups = Grouped matched</a:t>
            </a:r>
          </a:p>
        </p:txBody>
      </p:sp>
    </p:spTree>
    <p:extLst>
      <p:ext uri="{BB962C8B-B14F-4D97-AF65-F5344CB8AC3E}">
        <p14:creationId xmlns:p14="http://schemas.microsoft.com/office/powerpoint/2010/main" val="18275576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BE1A15C4-4319-44F8-BED0-BF223C1557D2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BEB3F7C-BD39-4C95-8820-988EB706C303}"/>
              </a:ext>
            </a:extLst>
          </p:cNvPr>
          <p:cNvSpPr/>
          <p:nvPr/>
        </p:nvSpPr>
        <p:spPr>
          <a:xfrm>
            <a:off x="4173376" y="1952911"/>
            <a:ext cx="3453210" cy="9011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0: Overview page of my matche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5F73B77-9BA3-4FC8-942C-59D8039F784D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806">
            <a:extLst>
              <a:ext uri="{FF2B5EF4-FFF2-40B4-BE49-F238E27FC236}">
                <a16:creationId xmlns:a16="http://schemas.microsoft.com/office/drawing/2014/main" id="{CE174B8B-A958-479C-AB1C-4692BD889A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1380">
            <a:extLst>
              <a:ext uri="{FF2B5EF4-FFF2-40B4-BE49-F238E27FC236}">
                <a16:creationId xmlns:a16="http://schemas.microsoft.com/office/drawing/2014/main" id="{6CD4078B-1E8F-42F7-9517-C9A36C3ADC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FB3641E-ABAE-49C5-82C0-964D08A18201}"/>
              </a:ext>
            </a:extLst>
          </p:cNvPr>
          <p:cNvGrpSpPr/>
          <p:nvPr/>
        </p:nvGrpSpPr>
        <p:grpSpPr>
          <a:xfrm>
            <a:off x="5492679" y="1146393"/>
            <a:ext cx="735241" cy="418511"/>
            <a:chOff x="8597394" y="2882013"/>
            <a:chExt cx="960944" cy="54698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0D25E18-FEDE-4B90-B3DD-A10B67469022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C0991E-6555-470D-A8C6-BA286D250192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221E14F9-84B5-4B37-8A3A-D46A030B444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400A6D8-30C4-4C77-8984-70D891AB577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8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040C6AB0-A6CF-48A0-8E83-5ED3002DB2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3BC3D70C-C265-4CB9-9E9A-74A5581656CD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5D4EE18D-2BD5-433A-8674-72BB83D5EF75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8DC0C7-F806-452B-B271-65F6F8FD7A7E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Fat Fox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9723CE-F17B-4730-AFD5-00FEC29AC3B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631FAA6-6AF6-4761-A437-188B41015A14}"/>
              </a:ext>
            </a:extLst>
          </p:cNvPr>
          <p:cNvSpPr txBox="1"/>
          <p:nvPr/>
        </p:nvSpPr>
        <p:spPr>
          <a:xfrm>
            <a:off x="4131202" y="1659164"/>
            <a:ext cx="3540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New Match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EAA0729-813A-4B3D-B41E-DE2FAB3C9193}"/>
              </a:ext>
            </a:extLst>
          </p:cNvPr>
          <p:cNvSpPr txBox="1"/>
          <p:nvPr/>
        </p:nvSpPr>
        <p:spPr>
          <a:xfrm>
            <a:off x="4361069" y="2595174"/>
            <a:ext cx="5673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ok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F6D1EB5-5139-4BCB-B625-6D52BB4B518D}"/>
              </a:ext>
            </a:extLst>
          </p:cNvPr>
          <p:cNvSpPr/>
          <p:nvPr/>
        </p:nvSpPr>
        <p:spPr>
          <a:xfrm>
            <a:off x="7243678" y="1163793"/>
            <a:ext cx="120375" cy="120375"/>
          </a:xfrm>
          <a:prstGeom prst="ellipse">
            <a:avLst/>
          </a:prstGeom>
          <a:solidFill>
            <a:srgbClr val="C8AA6E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1BCAC55-74A1-402A-953E-42BC62F63B9E}"/>
              </a:ext>
            </a:extLst>
          </p:cNvPr>
          <p:cNvGrpSpPr/>
          <p:nvPr/>
        </p:nvGrpSpPr>
        <p:grpSpPr>
          <a:xfrm>
            <a:off x="4380357" y="2043684"/>
            <a:ext cx="528752" cy="528752"/>
            <a:chOff x="4301585" y="1993350"/>
            <a:chExt cx="528752" cy="52875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D7882760-0C98-4C65-83CC-431BF5CBC48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6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ECFF65AA-F9AC-45B8-BCC3-98012BA98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F333723-00B4-4494-98C3-B3562B8ECE46}"/>
              </a:ext>
            </a:extLst>
          </p:cNvPr>
          <p:cNvGrpSpPr/>
          <p:nvPr/>
        </p:nvGrpSpPr>
        <p:grpSpPr>
          <a:xfrm>
            <a:off x="5008489" y="2043684"/>
            <a:ext cx="528752" cy="528752"/>
            <a:chOff x="4966407" y="1993350"/>
            <a:chExt cx="528752" cy="528752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D4D78BD-48CB-4385-A487-F6612D6BF2D0}"/>
                </a:ext>
              </a:extLst>
            </p:cNvPr>
            <p:cNvSpPr/>
            <p:nvPr/>
          </p:nvSpPr>
          <p:spPr>
            <a:xfrm>
              <a:off x="4966407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 descr="Category:Role icons | League of Legends Wiki | Fandom">
              <a:extLst>
                <a:ext uri="{FF2B5EF4-FFF2-40B4-BE49-F238E27FC236}">
                  <a16:creationId xmlns:a16="http://schemas.microsoft.com/office/drawing/2014/main" id="{517C3EED-4A17-473F-9980-72BEAD4E0A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035" y="2056845"/>
              <a:ext cx="396580" cy="396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D02F3F2-EE5E-40CA-8DAB-D55DA999905F}"/>
              </a:ext>
            </a:extLst>
          </p:cNvPr>
          <p:cNvGrpSpPr/>
          <p:nvPr/>
        </p:nvGrpSpPr>
        <p:grpSpPr>
          <a:xfrm>
            <a:off x="6892883" y="2043684"/>
            <a:ext cx="528752" cy="528752"/>
            <a:chOff x="6960872" y="1993350"/>
            <a:chExt cx="528752" cy="528752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55AB5FB9-427D-41AB-A4EF-C7C77A0E4BFB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8FF18D9E-6F8B-4F21-A1A0-B303791934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A46D3FD-B005-40A4-A9D0-C7F331C989CB}"/>
              </a:ext>
            </a:extLst>
          </p:cNvPr>
          <p:cNvGrpSpPr/>
          <p:nvPr/>
        </p:nvGrpSpPr>
        <p:grpSpPr>
          <a:xfrm>
            <a:off x="6264752" y="2043684"/>
            <a:ext cx="528752" cy="528752"/>
            <a:chOff x="6296051" y="1993350"/>
            <a:chExt cx="528752" cy="528752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537676C-2B5B-410B-99C2-AE00933B42D7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2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D5BCF1BD-B09A-4100-941D-9725567655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AC5E6AE-CAE0-4708-BB85-280A091D9A5A}"/>
              </a:ext>
            </a:extLst>
          </p:cNvPr>
          <p:cNvGrpSpPr/>
          <p:nvPr/>
        </p:nvGrpSpPr>
        <p:grpSpPr>
          <a:xfrm>
            <a:off x="5636621" y="2043684"/>
            <a:ext cx="528752" cy="528752"/>
            <a:chOff x="5631229" y="1993350"/>
            <a:chExt cx="528752" cy="528752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E2828DB-6E02-4255-B426-F05F92CF6DC2}"/>
                </a:ext>
              </a:extLst>
            </p:cNvPr>
            <p:cNvSpPr/>
            <p:nvPr/>
          </p:nvSpPr>
          <p:spPr>
            <a:xfrm>
              <a:off x="5631229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4" name="Picture 10" descr="Jungle - Discord Emoji">
              <a:extLst>
                <a:ext uri="{FF2B5EF4-FFF2-40B4-BE49-F238E27FC236}">
                  <a16:creationId xmlns:a16="http://schemas.microsoft.com/office/drawing/2014/main" id="{D04D2240-7107-4522-9C37-7750D0F9A3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6602" y="2038722"/>
              <a:ext cx="438007" cy="438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A0EE1A4-78E3-4BDC-B3F3-07552CB331BA}"/>
              </a:ext>
            </a:extLst>
          </p:cNvPr>
          <p:cNvSpPr txBox="1"/>
          <p:nvPr/>
        </p:nvSpPr>
        <p:spPr>
          <a:xfrm>
            <a:off x="8758855" y="2859262"/>
            <a:ext cx="1678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67" name="Arrow: Chevron 66">
            <a:extLst>
              <a:ext uri="{FF2B5EF4-FFF2-40B4-BE49-F238E27FC236}">
                <a16:creationId xmlns:a16="http://schemas.microsoft.com/office/drawing/2014/main" id="{B183D61C-DB8D-4309-AEC7-1E4389D026CB}"/>
              </a:ext>
            </a:extLst>
          </p:cNvPr>
          <p:cNvSpPr/>
          <p:nvPr/>
        </p:nvSpPr>
        <p:spPr>
          <a:xfrm>
            <a:off x="7479926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id="{C645FD19-9871-478A-9FE0-095F092A3D0E}"/>
              </a:ext>
            </a:extLst>
          </p:cNvPr>
          <p:cNvSpPr/>
          <p:nvPr/>
        </p:nvSpPr>
        <p:spPr>
          <a:xfrm rot="10800000">
            <a:off x="4184387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F60C633-C891-49B5-A3DD-E44D711BC15E}"/>
              </a:ext>
            </a:extLst>
          </p:cNvPr>
          <p:cNvSpPr txBox="1"/>
          <p:nvPr/>
        </p:nvSpPr>
        <p:spPr>
          <a:xfrm>
            <a:off x="4925219" y="2595174"/>
            <a:ext cx="6952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Magico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17D59B8-BBF4-4454-AE70-F0DCCCFB5715}"/>
              </a:ext>
            </a:extLst>
          </p:cNvPr>
          <p:cNvSpPr txBox="1"/>
          <p:nvPr/>
        </p:nvSpPr>
        <p:spPr>
          <a:xfrm>
            <a:off x="553884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unglebo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CF8D878-B6A5-400F-8E30-4DF832FFAB00}"/>
              </a:ext>
            </a:extLst>
          </p:cNvPr>
          <p:cNvSpPr txBox="1"/>
          <p:nvPr/>
        </p:nvSpPr>
        <p:spPr>
          <a:xfrm>
            <a:off x="616697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Dr.Mundo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FB38C39-B62C-4732-A6D3-2E2505C93879}"/>
              </a:ext>
            </a:extLst>
          </p:cNvPr>
          <p:cNvSpPr txBox="1"/>
          <p:nvPr/>
        </p:nvSpPr>
        <p:spPr>
          <a:xfrm>
            <a:off x="6795108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Blitz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DBDE8FF1-BE69-419A-82D4-B4A5955AD421}"/>
              </a:ext>
            </a:extLst>
          </p:cNvPr>
          <p:cNvSpPr/>
          <p:nvPr/>
        </p:nvSpPr>
        <p:spPr>
          <a:xfrm>
            <a:off x="4380357" y="3677348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21AC109A-0686-4AFC-A506-5D0B9BCAC3D8}"/>
              </a:ext>
            </a:extLst>
          </p:cNvPr>
          <p:cNvSpPr/>
          <p:nvPr/>
        </p:nvSpPr>
        <p:spPr>
          <a:xfrm>
            <a:off x="4380357" y="5020924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2BA0873A-C687-4005-81F1-40285512ED6F}"/>
              </a:ext>
            </a:extLst>
          </p:cNvPr>
          <p:cNvSpPr/>
          <p:nvPr/>
        </p:nvSpPr>
        <p:spPr>
          <a:xfrm>
            <a:off x="4380357" y="4349136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B25CA57-C098-43B8-B741-121DB2E28BDE}"/>
              </a:ext>
            </a:extLst>
          </p:cNvPr>
          <p:cNvGrpSpPr/>
          <p:nvPr/>
        </p:nvGrpSpPr>
        <p:grpSpPr>
          <a:xfrm>
            <a:off x="4979637" y="3730509"/>
            <a:ext cx="2441998" cy="422430"/>
            <a:chOff x="4928694" y="3421685"/>
            <a:chExt cx="696819" cy="422430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91370BD-C165-4258-8261-86C000EF0E5A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Tryharding ranked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415E400-843A-48A0-ABB4-2E6F48102D67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5)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C417DF6-EEA1-4285-A62C-DCCE74A1B8DC}"/>
              </a:ext>
            </a:extLst>
          </p:cNvPr>
          <p:cNvGrpSpPr/>
          <p:nvPr/>
        </p:nvGrpSpPr>
        <p:grpSpPr>
          <a:xfrm>
            <a:off x="4979637" y="4402297"/>
            <a:ext cx="2436647" cy="422430"/>
            <a:chOff x="4928694" y="3421685"/>
            <a:chExt cx="696819" cy="422430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C855A7D-620A-41A4-9D4C-5A220CF05BEB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Random chill 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740FA77-49AF-4B0F-9A35-13678B1C2EA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0)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AA295E4-5423-4164-9E49-F8EE4156F451}"/>
              </a:ext>
            </a:extLst>
          </p:cNvPr>
          <p:cNvGrpSpPr/>
          <p:nvPr/>
        </p:nvGrpSpPr>
        <p:grpSpPr>
          <a:xfrm>
            <a:off x="4979637" y="5074085"/>
            <a:ext cx="2441998" cy="422430"/>
            <a:chOff x="4928694" y="3421685"/>
            <a:chExt cx="696819" cy="422430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ACF0164-6A45-4953-A103-64DF891D1669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ARAM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F1D1048-6602-4FDF-AF37-E391EC93C3F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4)</a:t>
              </a:r>
            </a:p>
          </p:txBody>
        </p:sp>
      </p:grpSp>
      <p:sp>
        <p:nvSpPr>
          <p:cNvPr id="63" name="Oval 62">
            <a:extLst>
              <a:ext uri="{FF2B5EF4-FFF2-40B4-BE49-F238E27FC236}">
                <a16:creationId xmlns:a16="http://schemas.microsoft.com/office/drawing/2014/main" id="{08B0BF52-182A-467A-A694-FFF1F202FE81}"/>
              </a:ext>
            </a:extLst>
          </p:cNvPr>
          <p:cNvSpPr/>
          <p:nvPr/>
        </p:nvSpPr>
        <p:spPr>
          <a:xfrm>
            <a:off x="4763811" y="3672708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491D11-444D-44A2-A05E-FA1AB3F572BB}"/>
              </a:ext>
            </a:extLst>
          </p:cNvPr>
          <p:cNvSpPr/>
          <p:nvPr/>
        </p:nvSpPr>
        <p:spPr>
          <a:xfrm>
            <a:off x="4763811" y="5013897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20DE401-E7AC-4BAC-9C65-F6A837421BF5}"/>
              </a:ext>
            </a:extLst>
          </p:cNvPr>
          <p:cNvSpPr/>
          <p:nvPr/>
        </p:nvSpPr>
        <p:spPr>
          <a:xfrm>
            <a:off x="4763811" y="431849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7D4D68D-4410-4080-933E-952A98055B8C}"/>
              </a:ext>
            </a:extLst>
          </p:cNvPr>
          <p:cNvSpPr/>
          <p:nvPr/>
        </p:nvSpPr>
        <p:spPr>
          <a:xfrm>
            <a:off x="4383920" y="5702356"/>
            <a:ext cx="528752" cy="5287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EB76E4E-9392-4F98-92A7-F0312E394987}"/>
              </a:ext>
            </a:extLst>
          </p:cNvPr>
          <p:cNvGrpSpPr/>
          <p:nvPr/>
        </p:nvGrpSpPr>
        <p:grpSpPr>
          <a:xfrm>
            <a:off x="4983200" y="5755517"/>
            <a:ext cx="2436647" cy="422430"/>
            <a:chOff x="4928694" y="3421685"/>
            <a:chExt cx="696819" cy="422430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295934A1-58D6-4F43-8D8B-E5D0879528D5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Delivery guys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1775A62C-D67F-465F-900A-E078295DDF41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Online (1)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6D2E38DF-3F69-43CE-868B-21DDC6F3AB31}"/>
              </a:ext>
            </a:extLst>
          </p:cNvPr>
          <p:cNvSpPr/>
          <p:nvPr/>
        </p:nvSpPr>
        <p:spPr>
          <a:xfrm>
            <a:off x="4767374" y="567171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3D1714F-2871-4535-A78B-63B6944FD42F}"/>
              </a:ext>
            </a:extLst>
          </p:cNvPr>
          <p:cNvSpPr txBox="1"/>
          <p:nvPr/>
        </p:nvSpPr>
        <p:spPr>
          <a:xfrm>
            <a:off x="10440997" y="2854075"/>
            <a:ext cx="177107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BC4ADC97-EF6C-4506-AC6B-427C861DFE00}"/>
              </a:ext>
            </a:extLst>
          </p:cNvPr>
          <p:cNvSpPr/>
          <p:nvPr/>
        </p:nvSpPr>
        <p:spPr>
          <a:xfrm>
            <a:off x="448875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E80CA601-BC6E-47B7-8214-73A46421E4F2}"/>
              </a:ext>
            </a:extLst>
          </p:cNvPr>
          <p:cNvSpPr/>
          <p:nvPr/>
        </p:nvSpPr>
        <p:spPr>
          <a:xfrm>
            <a:off x="595099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9C55F86F-DD64-4E57-9B9A-5684B8AB9DA6}"/>
              </a:ext>
            </a:extLst>
          </p:cNvPr>
          <p:cNvSpPr/>
          <p:nvPr/>
        </p:nvSpPr>
        <p:spPr>
          <a:xfrm>
            <a:off x="4488752" y="2997111"/>
            <a:ext cx="1409585" cy="486154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pic>
        <p:nvPicPr>
          <p:cNvPr id="2050" name="Picture 2" descr="Fist Icon - 13099 - Dryicons">
            <a:extLst>
              <a:ext uri="{FF2B5EF4-FFF2-40B4-BE49-F238E27FC236}">
                <a16:creationId xmlns:a16="http://schemas.microsoft.com/office/drawing/2014/main" id="{8CCBD4B7-FF95-4D89-B1F3-FC728F4BC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3041" y="3780032"/>
            <a:ext cx="323384" cy="323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Weed - icon by Adioma">
            <a:extLst>
              <a:ext uri="{FF2B5EF4-FFF2-40B4-BE49-F238E27FC236}">
                <a16:creationId xmlns:a16="http://schemas.microsoft.com/office/drawing/2014/main" id="{BE611B91-91E7-438F-A7A7-32C0A1D03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59" y="4456638"/>
            <a:ext cx="313747" cy="31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Fun Icon #133594 - Free Icons Library">
            <a:extLst>
              <a:ext uri="{FF2B5EF4-FFF2-40B4-BE49-F238E27FC236}">
                <a16:creationId xmlns:a16="http://schemas.microsoft.com/office/drawing/2014/main" id="{A72AA44B-5B41-4185-B130-591018BAB0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8325" y="5118892"/>
            <a:ext cx="332816" cy="332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Freeform 1201">
            <a:extLst>
              <a:ext uri="{FF2B5EF4-FFF2-40B4-BE49-F238E27FC236}">
                <a16:creationId xmlns:a16="http://schemas.microsoft.com/office/drawing/2014/main" id="{6D045A3B-EF74-4558-9257-91B75C646F7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12158" y="5860132"/>
            <a:ext cx="272277" cy="213199"/>
          </a:xfrm>
          <a:custGeom>
            <a:avLst/>
            <a:gdLst>
              <a:gd name="T0" fmla="*/ 670 w 670"/>
              <a:gd name="T1" fmla="*/ 408 h 523"/>
              <a:gd name="T2" fmla="*/ 659 w 670"/>
              <a:gd name="T3" fmla="*/ 418 h 523"/>
              <a:gd name="T4" fmla="*/ 628 w 670"/>
              <a:gd name="T5" fmla="*/ 418 h 523"/>
              <a:gd name="T6" fmla="*/ 628 w 670"/>
              <a:gd name="T7" fmla="*/ 460 h 523"/>
              <a:gd name="T8" fmla="*/ 565 w 670"/>
              <a:gd name="T9" fmla="*/ 523 h 523"/>
              <a:gd name="T10" fmla="*/ 502 w 670"/>
              <a:gd name="T11" fmla="*/ 460 h 523"/>
              <a:gd name="T12" fmla="*/ 502 w 670"/>
              <a:gd name="T13" fmla="*/ 418 h 523"/>
              <a:gd name="T14" fmla="*/ 168 w 670"/>
              <a:gd name="T15" fmla="*/ 418 h 523"/>
              <a:gd name="T16" fmla="*/ 168 w 670"/>
              <a:gd name="T17" fmla="*/ 460 h 523"/>
              <a:gd name="T18" fmla="*/ 105 w 670"/>
              <a:gd name="T19" fmla="*/ 523 h 523"/>
              <a:gd name="T20" fmla="*/ 42 w 670"/>
              <a:gd name="T21" fmla="*/ 460 h 523"/>
              <a:gd name="T22" fmla="*/ 42 w 670"/>
              <a:gd name="T23" fmla="*/ 418 h 523"/>
              <a:gd name="T24" fmla="*/ 11 w 670"/>
              <a:gd name="T25" fmla="*/ 418 h 523"/>
              <a:gd name="T26" fmla="*/ 0 w 670"/>
              <a:gd name="T27" fmla="*/ 408 h 523"/>
              <a:gd name="T28" fmla="*/ 0 w 670"/>
              <a:gd name="T29" fmla="*/ 282 h 523"/>
              <a:gd name="T30" fmla="*/ 74 w 670"/>
              <a:gd name="T31" fmla="*/ 209 h 523"/>
              <a:gd name="T32" fmla="*/ 83 w 670"/>
              <a:gd name="T33" fmla="*/ 209 h 523"/>
              <a:gd name="T34" fmla="*/ 117 w 670"/>
              <a:gd name="T35" fmla="*/ 72 h 523"/>
              <a:gd name="T36" fmla="*/ 210 w 670"/>
              <a:gd name="T37" fmla="*/ 0 h 523"/>
              <a:gd name="T38" fmla="*/ 460 w 670"/>
              <a:gd name="T39" fmla="*/ 0 h 523"/>
              <a:gd name="T40" fmla="*/ 553 w 670"/>
              <a:gd name="T41" fmla="*/ 72 h 523"/>
              <a:gd name="T42" fmla="*/ 587 w 670"/>
              <a:gd name="T43" fmla="*/ 209 h 523"/>
              <a:gd name="T44" fmla="*/ 596 w 670"/>
              <a:gd name="T45" fmla="*/ 209 h 523"/>
              <a:gd name="T46" fmla="*/ 670 w 670"/>
              <a:gd name="T47" fmla="*/ 282 h 523"/>
              <a:gd name="T48" fmla="*/ 670 w 670"/>
              <a:gd name="T49" fmla="*/ 408 h 523"/>
              <a:gd name="T50" fmla="*/ 105 w 670"/>
              <a:gd name="T51" fmla="*/ 262 h 523"/>
              <a:gd name="T52" fmla="*/ 53 w 670"/>
              <a:gd name="T53" fmla="*/ 314 h 523"/>
              <a:gd name="T54" fmla="*/ 105 w 670"/>
              <a:gd name="T55" fmla="*/ 366 h 523"/>
              <a:gd name="T56" fmla="*/ 157 w 670"/>
              <a:gd name="T57" fmla="*/ 314 h 523"/>
              <a:gd name="T58" fmla="*/ 105 w 670"/>
              <a:gd name="T59" fmla="*/ 262 h 523"/>
              <a:gd name="T60" fmla="*/ 501 w 670"/>
              <a:gd name="T61" fmla="*/ 209 h 523"/>
              <a:gd name="T62" fmla="*/ 472 w 670"/>
              <a:gd name="T63" fmla="*/ 93 h 523"/>
              <a:gd name="T64" fmla="*/ 460 w 670"/>
              <a:gd name="T65" fmla="*/ 84 h 523"/>
              <a:gd name="T66" fmla="*/ 210 w 670"/>
              <a:gd name="T67" fmla="*/ 84 h 523"/>
              <a:gd name="T68" fmla="*/ 198 w 670"/>
              <a:gd name="T69" fmla="*/ 93 h 523"/>
              <a:gd name="T70" fmla="*/ 169 w 670"/>
              <a:gd name="T71" fmla="*/ 209 h 523"/>
              <a:gd name="T72" fmla="*/ 501 w 670"/>
              <a:gd name="T73" fmla="*/ 209 h 523"/>
              <a:gd name="T74" fmla="*/ 565 w 670"/>
              <a:gd name="T75" fmla="*/ 262 h 523"/>
              <a:gd name="T76" fmla="*/ 513 w 670"/>
              <a:gd name="T77" fmla="*/ 314 h 523"/>
              <a:gd name="T78" fmla="*/ 565 w 670"/>
              <a:gd name="T79" fmla="*/ 366 h 523"/>
              <a:gd name="T80" fmla="*/ 617 w 670"/>
              <a:gd name="T81" fmla="*/ 314 h 523"/>
              <a:gd name="T82" fmla="*/ 565 w 670"/>
              <a:gd name="T83" fmla="*/ 262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70" h="523">
                <a:moveTo>
                  <a:pt x="670" y="408"/>
                </a:moveTo>
                <a:cubicBezTo>
                  <a:pt x="670" y="414"/>
                  <a:pt x="665" y="418"/>
                  <a:pt x="659" y="418"/>
                </a:cubicBezTo>
                <a:cubicBezTo>
                  <a:pt x="628" y="418"/>
                  <a:pt x="628" y="418"/>
                  <a:pt x="628" y="418"/>
                </a:cubicBezTo>
                <a:cubicBezTo>
                  <a:pt x="628" y="460"/>
                  <a:pt x="628" y="460"/>
                  <a:pt x="628" y="460"/>
                </a:cubicBezTo>
                <a:cubicBezTo>
                  <a:pt x="628" y="495"/>
                  <a:pt x="600" y="523"/>
                  <a:pt x="565" y="523"/>
                </a:cubicBezTo>
                <a:cubicBezTo>
                  <a:pt x="530" y="523"/>
                  <a:pt x="502" y="495"/>
                  <a:pt x="502" y="460"/>
                </a:cubicBezTo>
                <a:cubicBezTo>
                  <a:pt x="502" y="418"/>
                  <a:pt x="502" y="418"/>
                  <a:pt x="502" y="418"/>
                </a:cubicBezTo>
                <a:cubicBezTo>
                  <a:pt x="168" y="418"/>
                  <a:pt x="168" y="418"/>
                  <a:pt x="168" y="418"/>
                </a:cubicBezTo>
                <a:cubicBezTo>
                  <a:pt x="168" y="460"/>
                  <a:pt x="168" y="460"/>
                  <a:pt x="168" y="460"/>
                </a:cubicBezTo>
                <a:cubicBezTo>
                  <a:pt x="168" y="495"/>
                  <a:pt x="140" y="523"/>
                  <a:pt x="105" y="523"/>
                </a:cubicBezTo>
                <a:cubicBezTo>
                  <a:pt x="70" y="523"/>
                  <a:pt x="42" y="495"/>
                  <a:pt x="42" y="460"/>
                </a:cubicBezTo>
                <a:cubicBezTo>
                  <a:pt x="42" y="418"/>
                  <a:pt x="42" y="418"/>
                  <a:pt x="42" y="418"/>
                </a:cubicBezTo>
                <a:cubicBezTo>
                  <a:pt x="11" y="418"/>
                  <a:pt x="11" y="418"/>
                  <a:pt x="11" y="418"/>
                </a:cubicBezTo>
                <a:cubicBezTo>
                  <a:pt x="5" y="418"/>
                  <a:pt x="0" y="414"/>
                  <a:pt x="0" y="408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42"/>
                  <a:pt x="33" y="209"/>
                  <a:pt x="74" y="209"/>
                </a:cubicBezTo>
                <a:cubicBezTo>
                  <a:pt x="83" y="209"/>
                  <a:pt x="83" y="209"/>
                  <a:pt x="83" y="209"/>
                </a:cubicBezTo>
                <a:cubicBezTo>
                  <a:pt x="117" y="72"/>
                  <a:pt x="117" y="72"/>
                  <a:pt x="117" y="72"/>
                </a:cubicBezTo>
                <a:cubicBezTo>
                  <a:pt x="127" y="31"/>
                  <a:pt x="167" y="0"/>
                  <a:pt x="210" y="0"/>
                </a:cubicBezTo>
                <a:cubicBezTo>
                  <a:pt x="460" y="0"/>
                  <a:pt x="460" y="0"/>
                  <a:pt x="460" y="0"/>
                </a:cubicBezTo>
                <a:cubicBezTo>
                  <a:pt x="503" y="0"/>
                  <a:pt x="543" y="31"/>
                  <a:pt x="553" y="72"/>
                </a:cubicBezTo>
                <a:cubicBezTo>
                  <a:pt x="587" y="209"/>
                  <a:pt x="587" y="209"/>
                  <a:pt x="587" y="209"/>
                </a:cubicBezTo>
                <a:cubicBezTo>
                  <a:pt x="596" y="209"/>
                  <a:pt x="596" y="209"/>
                  <a:pt x="596" y="209"/>
                </a:cubicBezTo>
                <a:cubicBezTo>
                  <a:pt x="637" y="209"/>
                  <a:pt x="670" y="242"/>
                  <a:pt x="670" y="282"/>
                </a:cubicBezTo>
                <a:lnTo>
                  <a:pt x="670" y="408"/>
                </a:lnTo>
                <a:close/>
                <a:moveTo>
                  <a:pt x="105" y="262"/>
                </a:moveTo>
                <a:cubicBezTo>
                  <a:pt x="76" y="262"/>
                  <a:pt x="53" y="285"/>
                  <a:pt x="53" y="314"/>
                </a:cubicBezTo>
                <a:cubicBezTo>
                  <a:pt x="53" y="343"/>
                  <a:pt x="76" y="366"/>
                  <a:pt x="105" y="366"/>
                </a:cubicBezTo>
                <a:cubicBezTo>
                  <a:pt x="134" y="366"/>
                  <a:pt x="157" y="343"/>
                  <a:pt x="157" y="314"/>
                </a:cubicBezTo>
                <a:cubicBezTo>
                  <a:pt x="157" y="285"/>
                  <a:pt x="134" y="262"/>
                  <a:pt x="105" y="262"/>
                </a:cubicBezTo>
                <a:close/>
                <a:moveTo>
                  <a:pt x="501" y="209"/>
                </a:moveTo>
                <a:cubicBezTo>
                  <a:pt x="472" y="93"/>
                  <a:pt x="472" y="93"/>
                  <a:pt x="472" y="93"/>
                </a:cubicBezTo>
                <a:cubicBezTo>
                  <a:pt x="471" y="89"/>
                  <a:pt x="464" y="84"/>
                  <a:pt x="460" y="84"/>
                </a:cubicBezTo>
                <a:cubicBezTo>
                  <a:pt x="210" y="84"/>
                  <a:pt x="210" y="84"/>
                  <a:pt x="210" y="84"/>
                </a:cubicBezTo>
                <a:cubicBezTo>
                  <a:pt x="206" y="84"/>
                  <a:pt x="199" y="89"/>
                  <a:pt x="198" y="93"/>
                </a:cubicBezTo>
                <a:cubicBezTo>
                  <a:pt x="169" y="209"/>
                  <a:pt x="169" y="209"/>
                  <a:pt x="169" y="209"/>
                </a:cubicBezTo>
                <a:lnTo>
                  <a:pt x="501" y="209"/>
                </a:lnTo>
                <a:close/>
                <a:moveTo>
                  <a:pt x="565" y="262"/>
                </a:moveTo>
                <a:cubicBezTo>
                  <a:pt x="536" y="262"/>
                  <a:pt x="513" y="285"/>
                  <a:pt x="513" y="314"/>
                </a:cubicBezTo>
                <a:cubicBezTo>
                  <a:pt x="513" y="343"/>
                  <a:pt x="536" y="366"/>
                  <a:pt x="565" y="366"/>
                </a:cubicBezTo>
                <a:cubicBezTo>
                  <a:pt x="594" y="366"/>
                  <a:pt x="617" y="343"/>
                  <a:pt x="617" y="314"/>
                </a:cubicBezTo>
                <a:cubicBezTo>
                  <a:pt x="617" y="285"/>
                  <a:pt x="594" y="262"/>
                  <a:pt x="565" y="26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3E06C57F-9831-4902-BAB0-947E472070B6}"/>
              </a:ext>
            </a:extLst>
          </p:cNvPr>
          <p:cNvGrpSpPr/>
          <p:nvPr/>
        </p:nvGrpSpPr>
        <p:grpSpPr>
          <a:xfrm>
            <a:off x="6700257" y="3792668"/>
            <a:ext cx="298112" cy="298112"/>
            <a:chOff x="9507091" y="2579709"/>
            <a:chExt cx="241926" cy="241926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95F9F559-3B6D-420E-9F3C-CF46EEC1857D}"/>
                </a:ext>
              </a:extLst>
            </p:cNvPr>
            <p:cNvSpPr/>
            <p:nvPr/>
          </p:nvSpPr>
          <p:spPr>
            <a:xfrm>
              <a:off x="9507091" y="2579709"/>
              <a:ext cx="241926" cy="2419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Freeform 879">
              <a:extLst>
                <a:ext uri="{FF2B5EF4-FFF2-40B4-BE49-F238E27FC236}">
                  <a16:creationId xmlns:a16="http://schemas.microsoft.com/office/drawing/2014/main" id="{A13410CC-54C2-4A29-AA7B-95F5D5351F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07091" y="2579709"/>
              <a:ext cx="241926" cy="241926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397 w 502"/>
                <a:gd name="T11" fmla="*/ 230 h 502"/>
                <a:gd name="T12" fmla="*/ 376 w 502"/>
                <a:gd name="T13" fmla="*/ 209 h 502"/>
                <a:gd name="T14" fmla="*/ 293 w 502"/>
                <a:gd name="T15" fmla="*/ 209 h 502"/>
                <a:gd name="T16" fmla="*/ 293 w 502"/>
                <a:gd name="T17" fmla="*/ 125 h 502"/>
                <a:gd name="T18" fmla="*/ 272 w 502"/>
                <a:gd name="T19" fmla="*/ 104 h 502"/>
                <a:gd name="T20" fmla="*/ 230 w 502"/>
                <a:gd name="T21" fmla="*/ 104 h 502"/>
                <a:gd name="T22" fmla="*/ 209 w 502"/>
                <a:gd name="T23" fmla="*/ 125 h 502"/>
                <a:gd name="T24" fmla="*/ 209 w 502"/>
                <a:gd name="T25" fmla="*/ 209 h 502"/>
                <a:gd name="T26" fmla="*/ 125 w 502"/>
                <a:gd name="T27" fmla="*/ 209 h 502"/>
                <a:gd name="T28" fmla="*/ 104 w 502"/>
                <a:gd name="T29" fmla="*/ 230 h 502"/>
                <a:gd name="T30" fmla="*/ 104 w 502"/>
                <a:gd name="T31" fmla="*/ 272 h 502"/>
                <a:gd name="T32" fmla="*/ 125 w 502"/>
                <a:gd name="T33" fmla="*/ 293 h 502"/>
                <a:gd name="T34" fmla="*/ 209 w 502"/>
                <a:gd name="T35" fmla="*/ 293 h 502"/>
                <a:gd name="T36" fmla="*/ 209 w 502"/>
                <a:gd name="T37" fmla="*/ 376 h 502"/>
                <a:gd name="T38" fmla="*/ 230 w 502"/>
                <a:gd name="T39" fmla="*/ 397 h 502"/>
                <a:gd name="T40" fmla="*/ 272 w 502"/>
                <a:gd name="T41" fmla="*/ 397 h 502"/>
                <a:gd name="T42" fmla="*/ 293 w 502"/>
                <a:gd name="T43" fmla="*/ 376 h 502"/>
                <a:gd name="T44" fmla="*/ 293 w 502"/>
                <a:gd name="T45" fmla="*/ 293 h 502"/>
                <a:gd name="T46" fmla="*/ 376 w 502"/>
                <a:gd name="T47" fmla="*/ 293 h 502"/>
                <a:gd name="T48" fmla="*/ 397 w 502"/>
                <a:gd name="T49" fmla="*/ 272 h 502"/>
                <a:gd name="T50" fmla="*/ 397 w 502"/>
                <a:gd name="T51" fmla="*/ 230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2" y="502"/>
                    <a:pt x="0" y="389"/>
                    <a:pt x="0" y="251"/>
                  </a:cubicBezTo>
                  <a:cubicBezTo>
                    <a:pt x="0" y="112"/>
                    <a:pt x="112" y="0"/>
                    <a:pt x="251" y="0"/>
                  </a:cubicBezTo>
                  <a:cubicBezTo>
                    <a:pt x="389" y="0"/>
                    <a:pt x="502" y="112"/>
                    <a:pt x="502" y="251"/>
                  </a:cubicBezTo>
                  <a:cubicBezTo>
                    <a:pt x="502" y="389"/>
                    <a:pt x="389" y="502"/>
                    <a:pt x="251" y="502"/>
                  </a:cubicBezTo>
                  <a:close/>
                  <a:moveTo>
                    <a:pt x="397" y="230"/>
                  </a:moveTo>
                  <a:cubicBezTo>
                    <a:pt x="397" y="218"/>
                    <a:pt x="388" y="209"/>
                    <a:pt x="376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125"/>
                    <a:pt x="293" y="125"/>
                    <a:pt x="293" y="125"/>
                  </a:cubicBezTo>
                  <a:cubicBezTo>
                    <a:pt x="293" y="114"/>
                    <a:pt x="283" y="104"/>
                    <a:pt x="272" y="104"/>
                  </a:cubicBezTo>
                  <a:cubicBezTo>
                    <a:pt x="230" y="104"/>
                    <a:pt x="230" y="104"/>
                    <a:pt x="230" y="104"/>
                  </a:cubicBezTo>
                  <a:cubicBezTo>
                    <a:pt x="218" y="104"/>
                    <a:pt x="209" y="114"/>
                    <a:pt x="209" y="125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125" y="209"/>
                    <a:pt x="125" y="209"/>
                    <a:pt x="125" y="209"/>
                  </a:cubicBezTo>
                  <a:cubicBezTo>
                    <a:pt x="114" y="209"/>
                    <a:pt x="104" y="218"/>
                    <a:pt x="104" y="230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4" y="283"/>
                    <a:pt x="114" y="293"/>
                    <a:pt x="125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09" y="376"/>
                    <a:pt x="209" y="376"/>
                    <a:pt x="209" y="376"/>
                  </a:cubicBezTo>
                  <a:cubicBezTo>
                    <a:pt x="209" y="388"/>
                    <a:pt x="218" y="397"/>
                    <a:pt x="230" y="397"/>
                  </a:cubicBezTo>
                  <a:cubicBezTo>
                    <a:pt x="272" y="397"/>
                    <a:pt x="272" y="397"/>
                    <a:pt x="272" y="397"/>
                  </a:cubicBezTo>
                  <a:cubicBezTo>
                    <a:pt x="283" y="397"/>
                    <a:pt x="293" y="388"/>
                    <a:pt x="293" y="376"/>
                  </a:cubicBezTo>
                  <a:cubicBezTo>
                    <a:pt x="293" y="293"/>
                    <a:pt x="293" y="293"/>
                    <a:pt x="293" y="293"/>
                  </a:cubicBezTo>
                  <a:cubicBezTo>
                    <a:pt x="376" y="293"/>
                    <a:pt x="376" y="293"/>
                    <a:pt x="376" y="293"/>
                  </a:cubicBezTo>
                  <a:cubicBezTo>
                    <a:pt x="388" y="293"/>
                    <a:pt x="397" y="283"/>
                    <a:pt x="397" y="272"/>
                  </a:cubicBezTo>
                  <a:lnTo>
                    <a:pt x="397" y="2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0DF08EBF-0593-4709-93C4-37AACE0FADA2}"/>
              </a:ext>
            </a:extLst>
          </p:cNvPr>
          <p:cNvGrpSpPr/>
          <p:nvPr/>
        </p:nvGrpSpPr>
        <p:grpSpPr>
          <a:xfrm>
            <a:off x="6700257" y="4464455"/>
            <a:ext cx="298112" cy="298112"/>
            <a:chOff x="9507091" y="2579709"/>
            <a:chExt cx="241926" cy="241926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DDB9B5CD-5380-49A7-AEFC-15BF36CFD374}"/>
                </a:ext>
              </a:extLst>
            </p:cNvPr>
            <p:cNvSpPr/>
            <p:nvPr/>
          </p:nvSpPr>
          <p:spPr>
            <a:xfrm>
              <a:off x="9507091" y="2579709"/>
              <a:ext cx="241926" cy="2419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Freeform 879">
              <a:extLst>
                <a:ext uri="{FF2B5EF4-FFF2-40B4-BE49-F238E27FC236}">
                  <a16:creationId xmlns:a16="http://schemas.microsoft.com/office/drawing/2014/main" id="{6B8B1E5B-7488-4650-8DD5-0311106668D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07091" y="2579709"/>
              <a:ext cx="241926" cy="241926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397 w 502"/>
                <a:gd name="T11" fmla="*/ 230 h 502"/>
                <a:gd name="T12" fmla="*/ 376 w 502"/>
                <a:gd name="T13" fmla="*/ 209 h 502"/>
                <a:gd name="T14" fmla="*/ 293 w 502"/>
                <a:gd name="T15" fmla="*/ 209 h 502"/>
                <a:gd name="T16" fmla="*/ 293 w 502"/>
                <a:gd name="T17" fmla="*/ 125 h 502"/>
                <a:gd name="T18" fmla="*/ 272 w 502"/>
                <a:gd name="T19" fmla="*/ 104 h 502"/>
                <a:gd name="T20" fmla="*/ 230 w 502"/>
                <a:gd name="T21" fmla="*/ 104 h 502"/>
                <a:gd name="T22" fmla="*/ 209 w 502"/>
                <a:gd name="T23" fmla="*/ 125 h 502"/>
                <a:gd name="T24" fmla="*/ 209 w 502"/>
                <a:gd name="T25" fmla="*/ 209 h 502"/>
                <a:gd name="T26" fmla="*/ 125 w 502"/>
                <a:gd name="T27" fmla="*/ 209 h 502"/>
                <a:gd name="T28" fmla="*/ 104 w 502"/>
                <a:gd name="T29" fmla="*/ 230 h 502"/>
                <a:gd name="T30" fmla="*/ 104 w 502"/>
                <a:gd name="T31" fmla="*/ 272 h 502"/>
                <a:gd name="T32" fmla="*/ 125 w 502"/>
                <a:gd name="T33" fmla="*/ 293 h 502"/>
                <a:gd name="T34" fmla="*/ 209 w 502"/>
                <a:gd name="T35" fmla="*/ 293 h 502"/>
                <a:gd name="T36" fmla="*/ 209 w 502"/>
                <a:gd name="T37" fmla="*/ 376 h 502"/>
                <a:gd name="T38" fmla="*/ 230 w 502"/>
                <a:gd name="T39" fmla="*/ 397 h 502"/>
                <a:gd name="T40" fmla="*/ 272 w 502"/>
                <a:gd name="T41" fmla="*/ 397 h 502"/>
                <a:gd name="T42" fmla="*/ 293 w 502"/>
                <a:gd name="T43" fmla="*/ 376 h 502"/>
                <a:gd name="T44" fmla="*/ 293 w 502"/>
                <a:gd name="T45" fmla="*/ 293 h 502"/>
                <a:gd name="T46" fmla="*/ 376 w 502"/>
                <a:gd name="T47" fmla="*/ 293 h 502"/>
                <a:gd name="T48" fmla="*/ 397 w 502"/>
                <a:gd name="T49" fmla="*/ 272 h 502"/>
                <a:gd name="T50" fmla="*/ 397 w 502"/>
                <a:gd name="T51" fmla="*/ 230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2" y="502"/>
                    <a:pt x="0" y="389"/>
                    <a:pt x="0" y="251"/>
                  </a:cubicBezTo>
                  <a:cubicBezTo>
                    <a:pt x="0" y="112"/>
                    <a:pt x="112" y="0"/>
                    <a:pt x="251" y="0"/>
                  </a:cubicBezTo>
                  <a:cubicBezTo>
                    <a:pt x="389" y="0"/>
                    <a:pt x="502" y="112"/>
                    <a:pt x="502" y="251"/>
                  </a:cubicBezTo>
                  <a:cubicBezTo>
                    <a:pt x="502" y="389"/>
                    <a:pt x="389" y="502"/>
                    <a:pt x="251" y="502"/>
                  </a:cubicBezTo>
                  <a:close/>
                  <a:moveTo>
                    <a:pt x="397" y="230"/>
                  </a:moveTo>
                  <a:cubicBezTo>
                    <a:pt x="397" y="218"/>
                    <a:pt x="388" y="209"/>
                    <a:pt x="376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125"/>
                    <a:pt x="293" y="125"/>
                    <a:pt x="293" y="125"/>
                  </a:cubicBezTo>
                  <a:cubicBezTo>
                    <a:pt x="293" y="114"/>
                    <a:pt x="283" y="104"/>
                    <a:pt x="272" y="104"/>
                  </a:cubicBezTo>
                  <a:cubicBezTo>
                    <a:pt x="230" y="104"/>
                    <a:pt x="230" y="104"/>
                    <a:pt x="230" y="104"/>
                  </a:cubicBezTo>
                  <a:cubicBezTo>
                    <a:pt x="218" y="104"/>
                    <a:pt x="209" y="114"/>
                    <a:pt x="209" y="125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125" y="209"/>
                    <a:pt x="125" y="209"/>
                    <a:pt x="125" y="209"/>
                  </a:cubicBezTo>
                  <a:cubicBezTo>
                    <a:pt x="114" y="209"/>
                    <a:pt x="104" y="218"/>
                    <a:pt x="104" y="230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4" y="283"/>
                    <a:pt x="114" y="293"/>
                    <a:pt x="125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09" y="376"/>
                    <a:pt x="209" y="376"/>
                    <a:pt x="209" y="376"/>
                  </a:cubicBezTo>
                  <a:cubicBezTo>
                    <a:pt x="209" y="388"/>
                    <a:pt x="218" y="397"/>
                    <a:pt x="230" y="397"/>
                  </a:cubicBezTo>
                  <a:cubicBezTo>
                    <a:pt x="272" y="397"/>
                    <a:pt x="272" y="397"/>
                    <a:pt x="272" y="397"/>
                  </a:cubicBezTo>
                  <a:cubicBezTo>
                    <a:pt x="283" y="397"/>
                    <a:pt x="293" y="388"/>
                    <a:pt x="293" y="376"/>
                  </a:cubicBezTo>
                  <a:cubicBezTo>
                    <a:pt x="293" y="293"/>
                    <a:pt x="293" y="293"/>
                    <a:pt x="293" y="293"/>
                  </a:cubicBezTo>
                  <a:cubicBezTo>
                    <a:pt x="376" y="293"/>
                    <a:pt x="376" y="293"/>
                    <a:pt x="376" y="293"/>
                  </a:cubicBezTo>
                  <a:cubicBezTo>
                    <a:pt x="388" y="293"/>
                    <a:pt x="397" y="283"/>
                    <a:pt x="397" y="272"/>
                  </a:cubicBezTo>
                  <a:lnTo>
                    <a:pt x="397" y="2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7C223A76-4E42-4BBC-9BFB-A28CCE81E996}"/>
              </a:ext>
            </a:extLst>
          </p:cNvPr>
          <p:cNvGrpSpPr/>
          <p:nvPr/>
        </p:nvGrpSpPr>
        <p:grpSpPr>
          <a:xfrm>
            <a:off x="6700257" y="5136244"/>
            <a:ext cx="298112" cy="298112"/>
            <a:chOff x="9507091" y="2579709"/>
            <a:chExt cx="241926" cy="241926"/>
          </a:xfrm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41F47C4E-5131-4F74-9866-20D4E318FF18}"/>
                </a:ext>
              </a:extLst>
            </p:cNvPr>
            <p:cNvSpPr/>
            <p:nvPr/>
          </p:nvSpPr>
          <p:spPr>
            <a:xfrm>
              <a:off x="9507091" y="2579709"/>
              <a:ext cx="241926" cy="2419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Freeform 879">
              <a:extLst>
                <a:ext uri="{FF2B5EF4-FFF2-40B4-BE49-F238E27FC236}">
                  <a16:creationId xmlns:a16="http://schemas.microsoft.com/office/drawing/2014/main" id="{D781EA6A-2437-4416-8688-EAE4B53030D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07091" y="2579709"/>
              <a:ext cx="241926" cy="241926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397 w 502"/>
                <a:gd name="T11" fmla="*/ 230 h 502"/>
                <a:gd name="T12" fmla="*/ 376 w 502"/>
                <a:gd name="T13" fmla="*/ 209 h 502"/>
                <a:gd name="T14" fmla="*/ 293 w 502"/>
                <a:gd name="T15" fmla="*/ 209 h 502"/>
                <a:gd name="T16" fmla="*/ 293 w 502"/>
                <a:gd name="T17" fmla="*/ 125 h 502"/>
                <a:gd name="T18" fmla="*/ 272 w 502"/>
                <a:gd name="T19" fmla="*/ 104 h 502"/>
                <a:gd name="T20" fmla="*/ 230 w 502"/>
                <a:gd name="T21" fmla="*/ 104 h 502"/>
                <a:gd name="T22" fmla="*/ 209 w 502"/>
                <a:gd name="T23" fmla="*/ 125 h 502"/>
                <a:gd name="T24" fmla="*/ 209 w 502"/>
                <a:gd name="T25" fmla="*/ 209 h 502"/>
                <a:gd name="T26" fmla="*/ 125 w 502"/>
                <a:gd name="T27" fmla="*/ 209 h 502"/>
                <a:gd name="T28" fmla="*/ 104 w 502"/>
                <a:gd name="T29" fmla="*/ 230 h 502"/>
                <a:gd name="T30" fmla="*/ 104 w 502"/>
                <a:gd name="T31" fmla="*/ 272 h 502"/>
                <a:gd name="T32" fmla="*/ 125 w 502"/>
                <a:gd name="T33" fmla="*/ 293 h 502"/>
                <a:gd name="T34" fmla="*/ 209 w 502"/>
                <a:gd name="T35" fmla="*/ 293 h 502"/>
                <a:gd name="T36" fmla="*/ 209 w 502"/>
                <a:gd name="T37" fmla="*/ 376 h 502"/>
                <a:gd name="T38" fmla="*/ 230 w 502"/>
                <a:gd name="T39" fmla="*/ 397 h 502"/>
                <a:gd name="T40" fmla="*/ 272 w 502"/>
                <a:gd name="T41" fmla="*/ 397 h 502"/>
                <a:gd name="T42" fmla="*/ 293 w 502"/>
                <a:gd name="T43" fmla="*/ 376 h 502"/>
                <a:gd name="T44" fmla="*/ 293 w 502"/>
                <a:gd name="T45" fmla="*/ 293 h 502"/>
                <a:gd name="T46" fmla="*/ 376 w 502"/>
                <a:gd name="T47" fmla="*/ 293 h 502"/>
                <a:gd name="T48" fmla="*/ 397 w 502"/>
                <a:gd name="T49" fmla="*/ 272 h 502"/>
                <a:gd name="T50" fmla="*/ 397 w 502"/>
                <a:gd name="T51" fmla="*/ 230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2" y="502"/>
                    <a:pt x="0" y="389"/>
                    <a:pt x="0" y="251"/>
                  </a:cubicBezTo>
                  <a:cubicBezTo>
                    <a:pt x="0" y="112"/>
                    <a:pt x="112" y="0"/>
                    <a:pt x="251" y="0"/>
                  </a:cubicBezTo>
                  <a:cubicBezTo>
                    <a:pt x="389" y="0"/>
                    <a:pt x="502" y="112"/>
                    <a:pt x="502" y="251"/>
                  </a:cubicBezTo>
                  <a:cubicBezTo>
                    <a:pt x="502" y="389"/>
                    <a:pt x="389" y="502"/>
                    <a:pt x="251" y="502"/>
                  </a:cubicBezTo>
                  <a:close/>
                  <a:moveTo>
                    <a:pt x="397" y="230"/>
                  </a:moveTo>
                  <a:cubicBezTo>
                    <a:pt x="397" y="218"/>
                    <a:pt x="388" y="209"/>
                    <a:pt x="376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125"/>
                    <a:pt x="293" y="125"/>
                    <a:pt x="293" y="125"/>
                  </a:cubicBezTo>
                  <a:cubicBezTo>
                    <a:pt x="293" y="114"/>
                    <a:pt x="283" y="104"/>
                    <a:pt x="272" y="104"/>
                  </a:cubicBezTo>
                  <a:cubicBezTo>
                    <a:pt x="230" y="104"/>
                    <a:pt x="230" y="104"/>
                    <a:pt x="230" y="104"/>
                  </a:cubicBezTo>
                  <a:cubicBezTo>
                    <a:pt x="218" y="104"/>
                    <a:pt x="209" y="114"/>
                    <a:pt x="209" y="125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125" y="209"/>
                    <a:pt x="125" y="209"/>
                    <a:pt x="125" y="209"/>
                  </a:cubicBezTo>
                  <a:cubicBezTo>
                    <a:pt x="114" y="209"/>
                    <a:pt x="104" y="218"/>
                    <a:pt x="104" y="230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4" y="283"/>
                    <a:pt x="114" y="293"/>
                    <a:pt x="125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09" y="376"/>
                    <a:pt x="209" y="376"/>
                    <a:pt x="209" y="376"/>
                  </a:cubicBezTo>
                  <a:cubicBezTo>
                    <a:pt x="209" y="388"/>
                    <a:pt x="218" y="397"/>
                    <a:pt x="230" y="397"/>
                  </a:cubicBezTo>
                  <a:cubicBezTo>
                    <a:pt x="272" y="397"/>
                    <a:pt x="272" y="397"/>
                    <a:pt x="272" y="397"/>
                  </a:cubicBezTo>
                  <a:cubicBezTo>
                    <a:pt x="283" y="397"/>
                    <a:pt x="293" y="388"/>
                    <a:pt x="293" y="376"/>
                  </a:cubicBezTo>
                  <a:cubicBezTo>
                    <a:pt x="293" y="293"/>
                    <a:pt x="293" y="293"/>
                    <a:pt x="293" y="293"/>
                  </a:cubicBezTo>
                  <a:cubicBezTo>
                    <a:pt x="376" y="293"/>
                    <a:pt x="376" y="293"/>
                    <a:pt x="376" y="293"/>
                  </a:cubicBezTo>
                  <a:cubicBezTo>
                    <a:pt x="388" y="293"/>
                    <a:pt x="397" y="283"/>
                    <a:pt x="397" y="272"/>
                  </a:cubicBezTo>
                  <a:lnTo>
                    <a:pt x="397" y="2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56F10E60-BF84-4FFE-B1FA-A51485B8FD10}"/>
              </a:ext>
            </a:extLst>
          </p:cNvPr>
          <p:cNvGrpSpPr/>
          <p:nvPr/>
        </p:nvGrpSpPr>
        <p:grpSpPr>
          <a:xfrm>
            <a:off x="6700257" y="5817675"/>
            <a:ext cx="298112" cy="298112"/>
            <a:chOff x="9507091" y="2579709"/>
            <a:chExt cx="241926" cy="241926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36F73EF2-3186-4B58-96C4-2BA089E1B526}"/>
                </a:ext>
              </a:extLst>
            </p:cNvPr>
            <p:cNvSpPr/>
            <p:nvPr/>
          </p:nvSpPr>
          <p:spPr>
            <a:xfrm>
              <a:off x="9507091" y="2579709"/>
              <a:ext cx="241926" cy="2419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Freeform 879">
              <a:extLst>
                <a:ext uri="{FF2B5EF4-FFF2-40B4-BE49-F238E27FC236}">
                  <a16:creationId xmlns:a16="http://schemas.microsoft.com/office/drawing/2014/main" id="{69715421-D7CF-45CB-A02D-CF7A2BB2306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07091" y="2579709"/>
              <a:ext cx="241926" cy="241926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397 w 502"/>
                <a:gd name="T11" fmla="*/ 230 h 502"/>
                <a:gd name="T12" fmla="*/ 376 w 502"/>
                <a:gd name="T13" fmla="*/ 209 h 502"/>
                <a:gd name="T14" fmla="*/ 293 w 502"/>
                <a:gd name="T15" fmla="*/ 209 h 502"/>
                <a:gd name="T16" fmla="*/ 293 w 502"/>
                <a:gd name="T17" fmla="*/ 125 h 502"/>
                <a:gd name="T18" fmla="*/ 272 w 502"/>
                <a:gd name="T19" fmla="*/ 104 h 502"/>
                <a:gd name="T20" fmla="*/ 230 w 502"/>
                <a:gd name="T21" fmla="*/ 104 h 502"/>
                <a:gd name="T22" fmla="*/ 209 w 502"/>
                <a:gd name="T23" fmla="*/ 125 h 502"/>
                <a:gd name="T24" fmla="*/ 209 w 502"/>
                <a:gd name="T25" fmla="*/ 209 h 502"/>
                <a:gd name="T26" fmla="*/ 125 w 502"/>
                <a:gd name="T27" fmla="*/ 209 h 502"/>
                <a:gd name="T28" fmla="*/ 104 w 502"/>
                <a:gd name="T29" fmla="*/ 230 h 502"/>
                <a:gd name="T30" fmla="*/ 104 w 502"/>
                <a:gd name="T31" fmla="*/ 272 h 502"/>
                <a:gd name="T32" fmla="*/ 125 w 502"/>
                <a:gd name="T33" fmla="*/ 293 h 502"/>
                <a:gd name="T34" fmla="*/ 209 w 502"/>
                <a:gd name="T35" fmla="*/ 293 h 502"/>
                <a:gd name="T36" fmla="*/ 209 w 502"/>
                <a:gd name="T37" fmla="*/ 376 h 502"/>
                <a:gd name="T38" fmla="*/ 230 w 502"/>
                <a:gd name="T39" fmla="*/ 397 h 502"/>
                <a:gd name="T40" fmla="*/ 272 w 502"/>
                <a:gd name="T41" fmla="*/ 397 h 502"/>
                <a:gd name="T42" fmla="*/ 293 w 502"/>
                <a:gd name="T43" fmla="*/ 376 h 502"/>
                <a:gd name="T44" fmla="*/ 293 w 502"/>
                <a:gd name="T45" fmla="*/ 293 h 502"/>
                <a:gd name="T46" fmla="*/ 376 w 502"/>
                <a:gd name="T47" fmla="*/ 293 h 502"/>
                <a:gd name="T48" fmla="*/ 397 w 502"/>
                <a:gd name="T49" fmla="*/ 272 h 502"/>
                <a:gd name="T50" fmla="*/ 397 w 502"/>
                <a:gd name="T51" fmla="*/ 230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2" y="502"/>
                    <a:pt x="0" y="389"/>
                    <a:pt x="0" y="251"/>
                  </a:cubicBezTo>
                  <a:cubicBezTo>
                    <a:pt x="0" y="112"/>
                    <a:pt x="112" y="0"/>
                    <a:pt x="251" y="0"/>
                  </a:cubicBezTo>
                  <a:cubicBezTo>
                    <a:pt x="389" y="0"/>
                    <a:pt x="502" y="112"/>
                    <a:pt x="502" y="251"/>
                  </a:cubicBezTo>
                  <a:cubicBezTo>
                    <a:pt x="502" y="389"/>
                    <a:pt x="389" y="502"/>
                    <a:pt x="251" y="502"/>
                  </a:cubicBezTo>
                  <a:close/>
                  <a:moveTo>
                    <a:pt x="397" y="230"/>
                  </a:moveTo>
                  <a:cubicBezTo>
                    <a:pt x="397" y="218"/>
                    <a:pt x="388" y="209"/>
                    <a:pt x="376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125"/>
                    <a:pt x="293" y="125"/>
                    <a:pt x="293" y="125"/>
                  </a:cubicBezTo>
                  <a:cubicBezTo>
                    <a:pt x="293" y="114"/>
                    <a:pt x="283" y="104"/>
                    <a:pt x="272" y="104"/>
                  </a:cubicBezTo>
                  <a:cubicBezTo>
                    <a:pt x="230" y="104"/>
                    <a:pt x="230" y="104"/>
                    <a:pt x="230" y="104"/>
                  </a:cubicBezTo>
                  <a:cubicBezTo>
                    <a:pt x="218" y="104"/>
                    <a:pt x="209" y="114"/>
                    <a:pt x="209" y="125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125" y="209"/>
                    <a:pt x="125" y="209"/>
                    <a:pt x="125" y="209"/>
                  </a:cubicBezTo>
                  <a:cubicBezTo>
                    <a:pt x="114" y="209"/>
                    <a:pt x="104" y="218"/>
                    <a:pt x="104" y="230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4" y="283"/>
                    <a:pt x="114" y="293"/>
                    <a:pt x="125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09" y="376"/>
                    <a:pt x="209" y="376"/>
                    <a:pt x="209" y="376"/>
                  </a:cubicBezTo>
                  <a:cubicBezTo>
                    <a:pt x="209" y="388"/>
                    <a:pt x="218" y="397"/>
                    <a:pt x="230" y="397"/>
                  </a:cubicBezTo>
                  <a:cubicBezTo>
                    <a:pt x="272" y="397"/>
                    <a:pt x="272" y="397"/>
                    <a:pt x="272" y="397"/>
                  </a:cubicBezTo>
                  <a:cubicBezTo>
                    <a:pt x="283" y="397"/>
                    <a:pt x="293" y="388"/>
                    <a:pt x="293" y="376"/>
                  </a:cubicBezTo>
                  <a:cubicBezTo>
                    <a:pt x="293" y="293"/>
                    <a:pt x="293" y="293"/>
                    <a:pt x="293" y="293"/>
                  </a:cubicBezTo>
                  <a:cubicBezTo>
                    <a:pt x="376" y="293"/>
                    <a:pt x="376" y="293"/>
                    <a:pt x="376" y="293"/>
                  </a:cubicBezTo>
                  <a:cubicBezTo>
                    <a:pt x="388" y="293"/>
                    <a:pt x="397" y="283"/>
                    <a:pt x="397" y="272"/>
                  </a:cubicBezTo>
                  <a:lnTo>
                    <a:pt x="397" y="2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015570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BE1A15C4-4319-44F8-BED0-BF223C1557D2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BEB3F7C-BD39-4C95-8820-988EB706C303}"/>
              </a:ext>
            </a:extLst>
          </p:cNvPr>
          <p:cNvSpPr/>
          <p:nvPr/>
        </p:nvSpPr>
        <p:spPr>
          <a:xfrm>
            <a:off x="4173376" y="1952911"/>
            <a:ext cx="3453210" cy="9011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0: Overview page of my matches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5F73B77-9BA3-4FC8-942C-59D8039F784D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806">
            <a:extLst>
              <a:ext uri="{FF2B5EF4-FFF2-40B4-BE49-F238E27FC236}">
                <a16:creationId xmlns:a16="http://schemas.microsoft.com/office/drawing/2014/main" id="{CE174B8B-A958-479C-AB1C-4692BD889A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28458" y="1214613"/>
            <a:ext cx="235650" cy="282067"/>
          </a:xfrm>
          <a:custGeom>
            <a:avLst/>
            <a:gdLst>
              <a:gd name="T0" fmla="*/ 349 w 418"/>
              <a:gd name="T1" fmla="*/ 501 h 501"/>
              <a:gd name="T2" fmla="*/ 70 w 418"/>
              <a:gd name="T3" fmla="*/ 501 h 501"/>
              <a:gd name="T4" fmla="*/ 0 w 418"/>
              <a:gd name="T5" fmla="*/ 415 h 501"/>
              <a:gd name="T6" fmla="*/ 107 w 418"/>
              <a:gd name="T7" fmla="*/ 230 h 501"/>
              <a:gd name="T8" fmla="*/ 209 w 418"/>
              <a:gd name="T9" fmla="*/ 271 h 501"/>
              <a:gd name="T10" fmla="*/ 311 w 418"/>
              <a:gd name="T11" fmla="*/ 230 h 501"/>
              <a:gd name="T12" fmla="*/ 418 w 418"/>
              <a:gd name="T13" fmla="*/ 415 h 501"/>
              <a:gd name="T14" fmla="*/ 349 w 418"/>
              <a:gd name="T15" fmla="*/ 501 h 501"/>
              <a:gd name="T16" fmla="*/ 209 w 418"/>
              <a:gd name="T17" fmla="*/ 251 h 501"/>
              <a:gd name="T18" fmla="*/ 84 w 418"/>
              <a:gd name="T19" fmla="*/ 125 h 501"/>
              <a:gd name="T20" fmla="*/ 209 w 418"/>
              <a:gd name="T21" fmla="*/ 0 h 501"/>
              <a:gd name="T22" fmla="*/ 335 w 418"/>
              <a:gd name="T23" fmla="*/ 125 h 501"/>
              <a:gd name="T24" fmla="*/ 209 w 418"/>
              <a:gd name="T25" fmla="*/ 251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501">
                <a:moveTo>
                  <a:pt x="349" y="501"/>
                </a:moveTo>
                <a:cubicBezTo>
                  <a:pt x="70" y="501"/>
                  <a:pt x="70" y="501"/>
                  <a:pt x="70" y="501"/>
                </a:cubicBezTo>
                <a:cubicBezTo>
                  <a:pt x="31" y="501"/>
                  <a:pt x="0" y="463"/>
                  <a:pt x="0" y="415"/>
                </a:cubicBezTo>
                <a:cubicBezTo>
                  <a:pt x="0" y="329"/>
                  <a:pt x="21" y="230"/>
                  <a:pt x="107" y="230"/>
                </a:cubicBezTo>
                <a:cubicBezTo>
                  <a:pt x="133" y="255"/>
                  <a:pt x="169" y="271"/>
                  <a:pt x="209" y="271"/>
                </a:cubicBezTo>
                <a:cubicBezTo>
                  <a:pt x="249" y="271"/>
                  <a:pt x="285" y="255"/>
                  <a:pt x="311" y="230"/>
                </a:cubicBezTo>
                <a:cubicBezTo>
                  <a:pt x="397" y="230"/>
                  <a:pt x="418" y="329"/>
                  <a:pt x="418" y="415"/>
                </a:cubicBezTo>
                <a:cubicBezTo>
                  <a:pt x="418" y="463"/>
                  <a:pt x="387" y="501"/>
                  <a:pt x="349" y="501"/>
                </a:cubicBezTo>
                <a:close/>
                <a:moveTo>
                  <a:pt x="209" y="251"/>
                </a:moveTo>
                <a:cubicBezTo>
                  <a:pt x="140" y="251"/>
                  <a:pt x="84" y="194"/>
                  <a:pt x="84" y="125"/>
                </a:cubicBezTo>
                <a:cubicBezTo>
                  <a:pt x="84" y="56"/>
                  <a:pt x="140" y="0"/>
                  <a:pt x="209" y="0"/>
                </a:cubicBezTo>
                <a:cubicBezTo>
                  <a:pt x="278" y="0"/>
                  <a:pt x="335" y="56"/>
                  <a:pt x="335" y="125"/>
                </a:cubicBezTo>
                <a:cubicBezTo>
                  <a:pt x="335" y="194"/>
                  <a:pt x="278" y="251"/>
                  <a:pt x="209" y="25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1380">
            <a:extLst>
              <a:ext uri="{FF2B5EF4-FFF2-40B4-BE49-F238E27FC236}">
                <a16:creationId xmlns:a16="http://schemas.microsoft.com/office/drawing/2014/main" id="{6CD4078B-1E8F-42F7-9517-C9A36C3ADC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60872" y="1223981"/>
            <a:ext cx="313974" cy="263332"/>
          </a:xfrm>
          <a:custGeom>
            <a:avLst/>
            <a:gdLst>
              <a:gd name="T0" fmla="*/ 293 w 586"/>
              <a:gd name="T1" fmla="*/ 418 h 492"/>
              <a:gd name="T2" fmla="*/ 224 w 586"/>
              <a:gd name="T3" fmla="*/ 412 h 492"/>
              <a:gd name="T4" fmla="*/ 82 w 586"/>
              <a:gd name="T5" fmla="*/ 487 h 492"/>
              <a:gd name="T6" fmla="*/ 54 w 586"/>
              <a:gd name="T7" fmla="*/ 491 h 492"/>
              <a:gd name="T8" fmla="*/ 42 w 586"/>
              <a:gd name="T9" fmla="*/ 483 h 492"/>
              <a:gd name="T10" fmla="*/ 49 w 586"/>
              <a:gd name="T11" fmla="*/ 471 h 492"/>
              <a:gd name="T12" fmla="*/ 103 w 586"/>
              <a:gd name="T13" fmla="*/ 367 h 492"/>
              <a:gd name="T14" fmla="*/ 0 w 586"/>
              <a:gd name="T15" fmla="*/ 209 h 492"/>
              <a:gd name="T16" fmla="*/ 293 w 586"/>
              <a:gd name="T17" fmla="*/ 0 h 492"/>
              <a:gd name="T18" fmla="*/ 586 w 586"/>
              <a:gd name="T19" fmla="*/ 209 h 492"/>
              <a:gd name="T20" fmla="*/ 293 w 586"/>
              <a:gd name="T21" fmla="*/ 418 h 492"/>
              <a:gd name="T22" fmla="*/ 168 w 586"/>
              <a:gd name="T23" fmla="*/ 167 h 492"/>
              <a:gd name="T24" fmla="*/ 126 w 586"/>
              <a:gd name="T25" fmla="*/ 209 h 492"/>
              <a:gd name="T26" fmla="*/ 168 w 586"/>
              <a:gd name="T27" fmla="*/ 250 h 492"/>
              <a:gd name="T28" fmla="*/ 209 w 586"/>
              <a:gd name="T29" fmla="*/ 209 h 492"/>
              <a:gd name="T30" fmla="*/ 168 w 586"/>
              <a:gd name="T31" fmla="*/ 167 h 492"/>
              <a:gd name="T32" fmla="*/ 293 w 586"/>
              <a:gd name="T33" fmla="*/ 167 h 492"/>
              <a:gd name="T34" fmla="*/ 251 w 586"/>
              <a:gd name="T35" fmla="*/ 209 h 492"/>
              <a:gd name="T36" fmla="*/ 293 w 586"/>
              <a:gd name="T37" fmla="*/ 250 h 492"/>
              <a:gd name="T38" fmla="*/ 335 w 586"/>
              <a:gd name="T39" fmla="*/ 209 h 492"/>
              <a:gd name="T40" fmla="*/ 293 w 586"/>
              <a:gd name="T41" fmla="*/ 167 h 492"/>
              <a:gd name="T42" fmla="*/ 419 w 586"/>
              <a:gd name="T43" fmla="*/ 167 h 492"/>
              <a:gd name="T44" fmla="*/ 377 w 586"/>
              <a:gd name="T45" fmla="*/ 209 h 492"/>
              <a:gd name="T46" fmla="*/ 419 w 586"/>
              <a:gd name="T47" fmla="*/ 250 h 492"/>
              <a:gd name="T48" fmla="*/ 460 w 586"/>
              <a:gd name="T49" fmla="*/ 209 h 492"/>
              <a:gd name="T50" fmla="*/ 419 w 586"/>
              <a:gd name="T51" fmla="*/ 167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86" h="492">
                <a:moveTo>
                  <a:pt x="293" y="418"/>
                </a:moveTo>
                <a:cubicBezTo>
                  <a:pt x="269" y="418"/>
                  <a:pt x="246" y="416"/>
                  <a:pt x="224" y="412"/>
                </a:cubicBezTo>
                <a:cubicBezTo>
                  <a:pt x="187" y="449"/>
                  <a:pt x="138" y="475"/>
                  <a:pt x="82" y="487"/>
                </a:cubicBezTo>
                <a:cubicBezTo>
                  <a:pt x="73" y="488"/>
                  <a:pt x="64" y="490"/>
                  <a:pt x="54" y="491"/>
                </a:cubicBezTo>
                <a:cubicBezTo>
                  <a:pt x="49" y="492"/>
                  <a:pt x="44" y="488"/>
                  <a:pt x="42" y="483"/>
                </a:cubicBezTo>
                <a:cubicBezTo>
                  <a:pt x="41" y="478"/>
                  <a:pt x="45" y="475"/>
                  <a:pt x="49" y="471"/>
                </a:cubicBezTo>
                <a:cubicBezTo>
                  <a:pt x="70" y="452"/>
                  <a:pt x="94" y="436"/>
                  <a:pt x="103" y="367"/>
                </a:cubicBezTo>
                <a:cubicBezTo>
                  <a:pt x="40" y="329"/>
                  <a:pt x="0" y="272"/>
                  <a:pt x="0" y="209"/>
                </a:cubicBezTo>
                <a:cubicBezTo>
                  <a:pt x="0" y="93"/>
                  <a:pt x="131" y="0"/>
                  <a:pt x="293" y="0"/>
                </a:cubicBezTo>
                <a:cubicBezTo>
                  <a:pt x="455" y="0"/>
                  <a:pt x="586" y="93"/>
                  <a:pt x="586" y="209"/>
                </a:cubicBezTo>
                <a:cubicBezTo>
                  <a:pt x="586" y="324"/>
                  <a:pt x="455" y="418"/>
                  <a:pt x="293" y="418"/>
                </a:cubicBezTo>
                <a:close/>
                <a:moveTo>
                  <a:pt x="168" y="167"/>
                </a:moveTo>
                <a:cubicBezTo>
                  <a:pt x="144" y="167"/>
                  <a:pt x="126" y="185"/>
                  <a:pt x="126" y="209"/>
                </a:cubicBezTo>
                <a:cubicBezTo>
                  <a:pt x="126" y="232"/>
                  <a:pt x="144" y="250"/>
                  <a:pt x="168" y="250"/>
                </a:cubicBezTo>
                <a:cubicBezTo>
                  <a:pt x="191" y="250"/>
                  <a:pt x="209" y="232"/>
                  <a:pt x="209" y="209"/>
                </a:cubicBezTo>
                <a:cubicBezTo>
                  <a:pt x="209" y="185"/>
                  <a:pt x="191" y="167"/>
                  <a:pt x="168" y="167"/>
                </a:cubicBezTo>
                <a:close/>
                <a:moveTo>
                  <a:pt x="293" y="167"/>
                </a:moveTo>
                <a:cubicBezTo>
                  <a:pt x="270" y="167"/>
                  <a:pt x="251" y="185"/>
                  <a:pt x="251" y="209"/>
                </a:cubicBezTo>
                <a:cubicBezTo>
                  <a:pt x="251" y="232"/>
                  <a:pt x="270" y="250"/>
                  <a:pt x="293" y="250"/>
                </a:cubicBezTo>
                <a:cubicBezTo>
                  <a:pt x="316" y="250"/>
                  <a:pt x="335" y="232"/>
                  <a:pt x="335" y="209"/>
                </a:cubicBezTo>
                <a:cubicBezTo>
                  <a:pt x="335" y="185"/>
                  <a:pt x="316" y="167"/>
                  <a:pt x="293" y="167"/>
                </a:cubicBezTo>
                <a:close/>
                <a:moveTo>
                  <a:pt x="419" y="167"/>
                </a:moveTo>
                <a:cubicBezTo>
                  <a:pt x="395" y="167"/>
                  <a:pt x="377" y="185"/>
                  <a:pt x="377" y="209"/>
                </a:cubicBezTo>
                <a:cubicBezTo>
                  <a:pt x="377" y="232"/>
                  <a:pt x="395" y="250"/>
                  <a:pt x="419" y="250"/>
                </a:cubicBezTo>
                <a:cubicBezTo>
                  <a:pt x="442" y="250"/>
                  <a:pt x="460" y="232"/>
                  <a:pt x="460" y="209"/>
                </a:cubicBezTo>
                <a:cubicBezTo>
                  <a:pt x="460" y="185"/>
                  <a:pt x="442" y="167"/>
                  <a:pt x="419" y="167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FB3641E-ABAE-49C5-82C0-964D08A18201}"/>
              </a:ext>
            </a:extLst>
          </p:cNvPr>
          <p:cNvGrpSpPr/>
          <p:nvPr/>
        </p:nvGrpSpPr>
        <p:grpSpPr>
          <a:xfrm>
            <a:off x="5492679" y="1146393"/>
            <a:ext cx="735241" cy="418511"/>
            <a:chOff x="8597394" y="2882013"/>
            <a:chExt cx="960944" cy="546984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A0D25E18-FEDE-4B90-B3DD-A10B67469022}"/>
                </a:ext>
              </a:extLst>
            </p:cNvPr>
            <p:cNvSpPr/>
            <p:nvPr/>
          </p:nvSpPr>
          <p:spPr>
            <a:xfrm>
              <a:off x="8597394" y="2966761"/>
              <a:ext cx="960944" cy="459515"/>
            </a:xfrm>
            <a:prstGeom prst="roundRect">
              <a:avLst>
                <a:gd name="adj" fmla="val 86146"/>
              </a:avLst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0C0991E-6555-470D-A8C6-BA286D250192}"/>
                </a:ext>
              </a:extLst>
            </p:cNvPr>
            <p:cNvGrpSpPr/>
            <p:nvPr/>
          </p:nvGrpSpPr>
          <p:grpSpPr>
            <a:xfrm>
              <a:off x="8827096" y="2882015"/>
              <a:ext cx="501539" cy="546985"/>
              <a:chOff x="5443275" y="3221413"/>
              <a:chExt cx="783955" cy="854993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221E14F9-84B5-4B37-8A3A-D46A030B4449}"/>
                  </a:ext>
                </a:extLst>
              </p:cNvPr>
              <p:cNvGrpSpPr/>
              <p:nvPr/>
            </p:nvGrpSpPr>
            <p:grpSpPr>
              <a:xfrm>
                <a:off x="5453806" y="3302982"/>
                <a:ext cx="773424" cy="773424"/>
                <a:chOff x="7889202" y="2616582"/>
                <a:chExt cx="676198" cy="676198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400A6D8-30C4-4C77-8984-70D891AB5774}"/>
                    </a:ext>
                  </a:extLst>
                </p:cNvPr>
                <p:cNvSpPr/>
                <p:nvPr/>
              </p:nvSpPr>
              <p:spPr>
                <a:xfrm>
                  <a:off x="7968344" y="2808515"/>
                  <a:ext cx="505326" cy="18219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48" name="Picture 8" descr="Fun games joystick icon - Locations Redesign">
                  <a:extLst>
                    <a:ext uri="{FF2B5EF4-FFF2-40B4-BE49-F238E27FC236}">
                      <a16:creationId xmlns:a16="http://schemas.microsoft.com/office/drawing/2014/main" id="{040C6AB0-A6CF-48A0-8E83-5ED3002DB2C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89202" y="2616582"/>
                  <a:ext cx="676198" cy="676198"/>
                </a:xfrm>
                <a:prstGeom prst="rect">
                  <a:avLst/>
                </a:prstGeom>
                <a:noFill/>
              </p:spPr>
            </p:pic>
          </p:grpSp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3BC3D70C-C265-4CB9-9E9A-74A5581656CD}"/>
                  </a:ext>
                </a:extLst>
              </p:cNvPr>
              <p:cNvSpPr/>
              <p:nvPr/>
            </p:nvSpPr>
            <p:spPr>
              <a:xfrm rot="7167260">
                <a:off x="5406180" y="3258508"/>
                <a:ext cx="746153" cy="671963"/>
              </a:xfrm>
              <a:prstGeom prst="arc">
                <a:avLst>
                  <a:gd name="adj1" fmla="val 17788439"/>
                  <a:gd name="adj2" fmla="val 20564801"/>
                </a:avLst>
              </a:prstGeom>
              <a:ln w="127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5D4EE18D-2BD5-433A-8674-72BB83D5EF75}"/>
              </a:ext>
            </a:extLst>
          </p:cNvPr>
          <p:cNvSpPr txBox="1"/>
          <p:nvPr/>
        </p:nvSpPr>
        <p:spPr>
          <a:xfrm>
            <a:off x="4113265" y="896832"/>
            <a:ext cx="106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Profi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8DC0C7-F806-452B-B271-65F6F8FD7A7E}"/>
              </a:ext>
            </a:extLst>
          </p:cNvPr>
          <p:cNvSpPr txBox="1"/>
          <p:nvPr/>
        </p:nvSpPr>
        <p:spPr>
          <a:xfrm>
            <a:off x="5203076" y="896832"/>
            <a:ext cx="13144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Fat Fox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E9723CE-F17B-4730-AFD5-00FEC29AC3B1}"/>
              </a:ext>
            </a:extLst>
          </p:cNvPr>
          <p:cNvSpPr txBox="1"/>
          <p:nvPr/>
        </p:nvSpPr>
        <p:spPr>
          <a:xfrm>
            <a:off x="6690851" y="896832"/>
            <a:ext cx="854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Cha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631FAA6-6AF6-4761-A437-188B41015A14}"/>
              </a:ext>
            </a:extLst>
          </p:cNvPr>
          <p:cNvSpPr txBox="1"/>
          <p:nvPr/>
        </p:nvSpPr>
        <p:spPr>
          <a:xfrm>
            <a:off x="4131202" y="1659164"/>
            <a:ext cx="3540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New Match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EAA0729-813A-4B3D-B41E-DE2FAB3C9193}"/>
              </a:ext>
            </a:extLst>
          </p:cNvPr>
          <p:cNvSpPr txBox="1"/>
          <p:nvPr/>
        </p:nvSpPr>
        <p:spPr>
          <a:xfrm>
            <a:off x="4361069" y="2595174"/>
            <a:ext cx="5673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ok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F6D1EB5-5139-4BCB-B625-6D52BB4B518D}"/>
              </a:ext>
            </a:extLst>
          </p:cNvPr>
          <p:cNvSpPr/>
          <p:nvPr/>
        </p:nvSpPr>
        <p:spPr>
          <a:xfrm>
            <a:off x="7243678" y="1163793"/>
            <a:ext cx="120375" cy="120375"/>
          </a:xfrm>
          <a:prstGeom prst="ellipse">
            <a:avLst/>
          </a:prstGeom>
          <a:solidFill>
            <a:srgbClr val="C8AA6E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1BCAC55-74A1-402A-953E-42BC62F63B9E}"/>
              </a:ext>
            </a:extLst>
          </p:cNvPr>
          <p:cNvGrpSpPr/>
          <p:nvPr/>
        </p:nvGrpSpPr>
        <p:grpSpPr>
          <a:xfrm>
            <a:off x="4380357" y="2043684"/>
            <a:ext cx="528752" cy="528752"/>
            <a:chOff x="4301585" y="1993350"/>
            <a:chExt cx="528752" cy="52875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D7882760-0C98-4C65-83CC-431BF5CBC48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6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ECFF65AA-F9AC-45B8-BCC3-98012BA98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F333723-00B4-4494-98C3-B3562B8ECE46}"/>
              </a:ext>
            </a:extLst>
          </p:cNvPr>
          <p:cNvGrpSpPr/>
          <p:nvPr/>
        </p:nvGrpSpPr>
        <p:grpSpPr>
          <a:xfrm>
            <a:off x="5008489" y="2043684"/>
            <a:ext cx="528752" cy="528752"/>
            <a:chOff x="4966407" y="1993350"/>
            <a:chExt cx="528752" cy="528752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D4D78BD-48CB-4385-A487-F6612D6BF2D0}"/>
                </a:ext>
              </a:extLst>
            </p:cNvPr>
            <p:cNvSpPr/>
            <p:nvPr/>
          </p:nvSpPr>
          <p:spPr>
            <a:xfrm>
              <a:off x="4966407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 descr="Category:Role icons | League of Legends Wiki | Fandom">
              <a:extLst>
                <a:ext uri="{FF2B5EF4-FFF2-40B4-BE49-F238E27FC236}">
                  <a16:creationId xmlns:a16="http://schemas.microsoft.com/office/drawing/2014/main" id="{517C3EED-4A17-473F-9980-72BEAD4E0A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035" y="2056845"/>
              <a:ext cx="396580" cy="396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D02F3F2-EE5E-40CA-8DAB-D55DA999905F}"/>
              </a:ext>
            </a:extLst>
          </p:cNvPr>
          <p:cNvGrpSpPr/>
          <p:nvPr/>
        </p:nvGrpSpPr>
        <p:grpSpPr>
          <a:xfrm>
            <a:off x="6892883" y="2043684"/>
            <a:ext cx="528752" cy="528752"/>
            <a:chOff x="6960872" y="1993350"/>
            <a:chExt cx="528752" cy="528752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55AB5FB9-427D-41AB-A4EF-C7C77A0E4BFB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0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8FF18D9E-6F8B-4F21-A1A0-B303791934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A46D3FD-B005-40A4-A9D0-C7F331C989CB}"/>
              </a:ext>
            </a:extLst>
          </p:cNvPr>
          <p:cNvGrpSpPr/>
          <p:nvPr/>
        </p:nvGrpSpPr>
        <p:grpSpPr>
          <a:xfrm>
            <a:off x="6264752" y="2043684"/>
            <a:ext cx="528752" cy="528752"/>
            <a:chOff x="6296051" y="1993350"/>
            <a:chExt cx="528752" cy="528752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3537676C-2B5B-410B-99C2-AE00933B42D7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2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D5BCF1BD-B09A-4100-941D-9725567655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AC5E6AE-CAE0-4708-BB85-280A091D9A5A}"/>
              </a:ext>
            </a:extLst>
          </p:cNvPr>
          <p:cNvGrpSpPr/>
          <p:nvPr/>
        </p:nvGrpSpPr>
        <p:grpSpPr>
          <a:xfrm>
            <a:off x="5636621" y="2043684"/>
            <a:ext cx="528752" cy="528752"/>
            <a:chOff x="5631229" y="1993350"/>
            <a:chExt cx="528752" cy="528752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E2828DB-6E02-4255-B426-F05F92CF6DC2}"/>
                </a:ext>
              </a:extLst>
            </p:cNvPr>
            <p:cNvSpPr/>
            <p:nvPr/>
          </p:nvSpPr>
          <p:spPr>
            <a:xfrm>
              <a:off x="5631229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4" name="Picture 10" descr="Jungle - Discord Emoji">
              <a:extLst>
                <a:ext uri="{FF2B5EF4-FFF2-40B4-BE49-F238E27FC236}">
                  <a16:creationId xmlns:a16="http://schemas.microsoft.com/office/drawing/2014/main" id="{D04D2240-7107-4522-9C37-7750D0F9A3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6602" y="2038722"/>
              <a:ext cx="438007" cy="438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A0EE1A4-78E3-4BDC-B3F3-07552CB331BA}"/>
              </a:ext>
            </a:extLst>
          </p:cNvPr>
          <p:cNvSpPr txBox="1"/>
          <p:nvPr/>
        </p:nvSpPr>
        <p:spPr>
          <a:xfrm>
            <a:off x="8758855" y="2859262"/>
            <a:ext cx="1678853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67" name="Arrow: Chevron 66">
            <a:extLst>
              <a:ext uri="{FF2B5EF4-FFF2-40B4-BE49-F238E27FC236}">
                <a16:creationId xmlns:a16="http://schemas.microsoft.com/office/drawing/2014/main" id="{B183D61C-DB8D-4309-AEC7-1E4389D026CB}"/>
              </a:ext>
            </a:extLst>
          </p:cNvPr>
          <p:cNvSpPr/>
          <p:nvPr/>
        </p:nvSpPr>
        <p:spPr>
          <a:xfrm>
            <a:off x="7479926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id="{C645FD19-9871-478A-9FE0-095F092A3D0E}"/>
              </a:ext>
            </a:extLst>
          </p:cNvPr>
          <p:cNvSpPr/>
          <p:nvPr/>
        </p:nvSpPr>
        <p:spPr>
          <a:xfrm rot="10800000">
            <a:off x="4184387" y="2217376"/>
            <a:ext cx="129882" cy="181554"/>
          </a:xfrm>
          <a:prstGeom prst="chevron">
            <a:avLst/>
          </a:prstGeom>
          <a:solidFill>
            <a:srgbClr val="C8AA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F60C633-C891-49B5-A3DD-E44D711BC15E}"/>
              </a:ext>
            </a:extLst>
          </p:cNvPr>
          <p:cNvSpPr txBox="1"/>
          <p:nvPr/>
        </p:nvSpPr>
        <p:spPr>
          <a:xfrm>
            <a:off x="4925219" y="2595174"/>
            <a:ext cx="6952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Magico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17D59B8-BBF4-4454-AE70-F0DCCCFB5715}"/>
              </a:ext>
            </a:extLst>
          </p:cNvPr>
          <p:cNvSpPr txBox="1"/>
          <p:nvPr/>
        </p:nvSpPr>
        <p:spPr>
          <a:xfrm>
            <a:off x="553884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Junglebo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CF8D878-B6A5-400F-8E30-4DF832FFAB00}"/>
              </a:ext>
            </a:extLst>
          </p:cNvPr>
          <p:cNvSpPr txBox="1"/>
          <p:nvPr/>
        </p:nvSpPr>
        <p:spPr>
          <a:xfrm>
            <a:off x="6166976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Dr.Mundo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FB38C39-B62C-4732-A6D3-2E2505C93879}"/>
              </a:ext>
            </a:extLst>
          </p:cNvPr>
          <p:cNvSpPr txBox="1"/>
          <p:nvPr/>
        </p:nvSpPr>
        <p:spPr>
          <a:xfrm>
            <a:off x="6795108" y="2595174"/>
            <a:ext cx="7243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>
                <a:latin typeface="Montserrat" panose="00000500000000000000" pitchFamily="2" charset="0"/>
              </a:rPr>
              <a:t>Blitz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EC81ECA-896E-4EF3-967B-AAEFA34E7542}"/>
              </a:ext>
            </a:extLst>
          </p:cNvPr>
          <p:cNvGrpSpPr/>
          <p:nvPr/>
        </p:nvGrpSpPr>
        <p:grpSpPr>
          <a:xfrm>
            <a:off x="4380357" y="3677348"/>
            <a:ext cx="528752" cy="528752"/>
            <a:chOff x="4301585" y="1993350"/>
            <a:chExt cx="528752" cy="528752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BDE8FF1-BE69-419A-82D4-B4A5955AD421}"/>
                </a:ext>
              </a:extLst>
            </p:cNvPr>
            <p:cNvSpPr/>
            <p:nvPr/>
          </p:nvSpPr>
          <p:spPr>
            <a:xfrm>
              <a:off x="4301585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1" name="Picture 2" descr="Category:Marksman champion | League of Legends Wiki | Fandom">
              <a:extLst>
                <a:ext uri="{FF2B5EF4-FFF2-40B4-BE49-F238E27FC236}">
                  <a16:creationId xmlns:a16="http://schemas.microsoft.com/office/drawing/2014/main" id="{B106BD52-F292-4844-85AB-6CADFE65F4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244" y="2015419"/>
              <a:ext cx="479433" cy="479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136B307-3888-4097-94CE-39617BAC6504}"/>
              </a:ext>
            </a:extLst>
          </p:cNvPr>
          <p:cNvGrpSpPr/>
          <p:nvPr/>
        </p:nvGrpSpPr>
        <p:grpSpPr>
          <a:xfrm>
            <a:off x="4380357" y="5020924"/>
            <a:ext cx="528752" cy="528752"/>
            <a:chOff x="6960872" y="1993350"/>
            <a:chExt cx="528752" cy="528752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1AC109A-0686-4AFC-A506-5D0B9BCAC3D8}"/>
                </a:ext>
              </a:extLst>
            </p:cNvPr>
            <p:cNvSpPr/>
            <p:nvPr/>
          </p:nvSpPr>
          <p:spPr>
            <a:xfrm>
              <a:off x="6960872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4" name="Picture 6" descr="Category:Role icons | League of Legends Wiki | Fandom">
              <a:extLst>
                <a:ext uri="{FF2B5EF4-FFF2-40B4-BE49-F238E27FC236}">
                  <a16:creationId xmlns:a16="http://schemas.microsoft.com/office/drawing/2014/main" id="{9432E971-C486-4F1C-BE75-DC507CDC74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426" y="2046904"/>
              <a:ext cx="421644" cy="421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02E3BB6D-AB32-4874-940B-D88C4F080CF3}"/>
              </a:ext>
            </a:extLst>
          </p:cNvPr>
          <p:cNvGrpSpPr/>
          <p:nvPr/>
        </p:nvGrpSpPr>
        <p:grpSpPr>
          <a:xfrm>
            <a:off x="4380357" y="4349136"/>
            <a:ext cx="528752" cy="528752"/>
            <a:chOff x="6296051" y="1993350"/>
            <a:chExt cx="528752" cy="528752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2BA0873A-C687-4005-81F1-40285512ED6F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7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58BD5C43-5F11-4C34-AA90-858CDD0F5A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B25CA57-C098-43B8-B741-121DB2E28BDE}"/>
              </a:ext>
            </a:extLst>
          </p:cNvPr>
          <p:cNvGrpSpPr/>
          <p:nvPr/>
        </p:nvGrpSpPr>
        <p:grpSpPr>
          <a:xfrm>
            <a:off x="4979637" y="3730509"/>
            <a:ext cx="2441998" cy="422430"/>
            <a:chOff x="4928694" y="3421685"/>
            <a:chExt cx="696819" cy="422430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91370BD-C165-4258-8261-86C000EF0E5A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Fakerlol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415E400-843A-48A0-ABB4-2E6F48102D67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Hey yo!</a:t>
              </a: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C417DF6-EEA1-4285-A62C-DCCE74A1B8DC}"/>
              </a:ext>
            </a:extLst>
          </p:cNvPr>
          <p:cNvGrpSpPr/>
          <p:nvPr/>
        </p:nvGrpSpPr>
        <p:grpSpPr>
          <a:xfrm>
            <a:off x="4979637" y="4402297"/>
            <a:ext cx="2436647" cy="422430"/>
            <a:chOff x="4928694" y="3421685"/>
            <a:chExt cx="696819" cy="422430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C855A7D-620A-41A4-9D4C-5A220CF05BEB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Bjergsen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F740FA77-49AF-4B0F-9A35-13678B1C2EA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e I am down for some games around 9pm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AA295E4-5423-4164-9E49-F8EE4156F451}"/>
              </a:ext>
            </a:extLst>
          </p:cNvPr>
          <p:cNvGrpSpPr/>
          <p:nvPr/>
        </p:nvGrpSpPr>
        <p:grpSpPr>
          <a:xfrm>
            <a:off x="4979637" y="5074085"/>
            <a:ext cx="2441998" cy="422430"/>
            <a:chOff x="4928694" y="3421685"/>
            <a:chExt cx="696819" cy="422430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ACF0164-6A45-4953-A103-64DF891D1669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Rekkles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F1D1048-6602-4FDF-AF37-E391EC93C3FA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ou down for some tryhardz?</a:t>
              </a:r>
            </a:p>
          </p:txBody>
        </p:sp>
      </p:grp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F1163692-A590-4A61-869F-6007D7A640C5}"/>
              </a:ext>
            </a:extLst>
          </p:cNvPr>
          <p:cNvSpPr/>
          <p:nvPr/>
        </p:nvSpPr>
        <p:spPr>
          <a:xfrm>
            <a:off x="6665192" y="3748069"/>
            <a:ext cx="752383" cy="171163"/>
          </a:xfrm>
          <a:prstGeom prst="roundRect">
            <a:avLst/>
          </a:prstGeom>
          <a:solidFill>
            <a:srgbClr val="F2F2F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Your turn!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411A068-1217-47E0-B24B-077E4E07E154}"/>
              </a:ext>
            </a:extLst>
          </p:cNvPr>
          <p:cNvSpPr/>
          <p:nvPr/>
        </p:nvSpPr>
        <p:spPr>
          <a:xfrm>
            <a:off x="6665192" y="5111613"/>
            <a:ext cx="752383" cy="171163"/>
          </a:xfrm>
          <a:prstGeom prst="roundRect">
            <a:avLst/>
          </a:prstGeom>
          <a:solidFill>
            <a:srgbClr val="F2F2F2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>
                <a:solidFill>
                  <a:schemeClr val="tx1"/>
                </a:solidFill>
                <a:latin typeface="Montserrat" panose="00000500000000000000" pitchFamily="2" charset="0"/>
              </a:rPr>
              <a:t>Your turn!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08B0BF52-182A-467A-A694-FFF1F202FE81}"/>
              </a:ext>
            </a:extLst>
          </p:cNvPr>
          <p:cNvSpPr/>
          <p:nvPr/>
        </p:nvSpPr>
        <p:spPr>
          <a:xfrm>
            <a:off x="4763811" y="3672708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4491D11-444D-44A2-A05E-FA1AB3F572BB}"/>
              </a:ext>
            </a:extLst>
          </p:cNvPr>
          <p:cNvSpPr/>
          <p:nvPr/>
        </p:nvSpPr>
        <p:spPr>
          <a:xfrm>
            <a:off x="4763811" y="5013897"/>
            <a:ext cx="120375" cy="120375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20DE401-E7AC-4BAC-9C65-F6A837421BF5}"/>
              </a:ext>
            </a:extLst>
          </p:cNvPr>
          <p:cNvSpPr/>
          <p:nvPr/>
        </p:nvSpPr>
        <p:spPr>
          <a:xfrm>
            <a:off x="4763811" y="431849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53461C11-DC8A-4A08-A1C9-53E11DAA1655}"/>
              </a:ext>
            </a:extLst>
          </p:cNvPr>
          <p:cNvGrpSpPr/>
          <p:nvPr/>
        </p:nvGrpSpPr>
        <p:grpSpPr>
          <a:xfrm>
            <a:off x="4383920" y="5702356"/>
            <a:ext cx="528752" cy="528752"/>
            <a:chOff x="6296051" y="1993350"/>
            <a:chExt cx="528752" cy="528752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77D4D68D-4410-4080-933E-952A98055B8C}"/>
                </a:ext>
              </a:extLst>
            </p:cNvPr>
            <p:cNvSpPr/>
            <p:nvPr/>
          </p:nvSpPr>
          <p:spPr>
            <a:xfrm>
              <a:off x="6296051" y="1993350"/>
              <a:ext cx="528752" cy="52875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7" name="Picture 8" descr="List of Champion Positions | League of Legends Wiki | Fandom">
              <a:extLst>
                <a:ext uri="{FF2B5EF4-FFF2-40B4-BE49-F238E27FC236}">
                  <a16:creationId xmlns:a16="http://schemas.microsoft.com/office/drawing/2014/main" id="{13FC0A49-B559-471D-8E0E-EAEA0E0B76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9298" y="2086597"/>
              <a:ext cx="342258" cy="3422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FEB76E4E-9392-4F98-92A7-F0312E394987}"/>
              </a:ext>
            </a:extLst>
          </p:cNvPr>
          <p:cNvGrpSpPr/>
          <p:nvPr/>
        </p:nvGrpSpPr>
        <p:grpSpPr>
          <a:xfrm>
            <a:off x="4983200" y="5755517"/>
            <a:ext cx="2436647" cy="422430"/>
            <a:chOff x="4928694" y="3421685"/>
            <a:chExt cx="696819" cy="422430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295934A1-58D6-4F43-8D8B-E5D0879528D5}"/>
                </a:ext>
              </a:extLst>
            </p:cNvPr>
            <p:cNvSpPr txBox="1"/>
            <p:nvPr/>
          </p:nvSpPr>
          <p:spPr>
            <a:xfrm>
              <a:off x="4928694" y="3421685"/>
              <a:ext cx="695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>
                  <a:latin typeface="Montserrat" panose="00000500000000000000" pitchFamily="2" charset="0"/>
                </a:rPr>
                <a:t>Bjergsen</a:t>
              </a:r>
              <a:endParaRPr lang="en-US" sz="800" b="1">
                <a:latin typeface="Montserrat" panose="00000500000000000000" pitchFamily="2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1775A62C-D67F-465F-900A-E078295DDF41}"/>
                </a:ext>
              </a:extLst>
            </p:cNvPr>
            <p:cNvSpPr txBox="1"/>
            <p:nvPr/>
          </p:nvSpPr>
          <p:spPr>
            <a:xfrm>
              <a:off x="4930221" y="3628671"/>
              <a:ext cx="69529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>
                  <a:latin typeface="Montserrat" panose="00000500000000000000" pitchFamily="2" charset="0"/>
                </a:rPr>
                <a:t>Ye I am down for some games around 9pm</a:t>
              </a:r>
            </a:p>
          </p:txBody>
        </p:sp>
      </p:grpSp>
      <p:sp>
        <p:nvSpPr>
          <p:cNvPr id="156" name="Oval 155">
            <a:extLst>
              <a:ext uri="{FF2B5EF4-FFF2-40B4-BE49-F238E27FC236}">
                <a16:creationId xmlns:a16="http://schemas.microsoft.com/office/drawing/2014/main" id="{6D2E38DF-3F69-43CE-868B-21DDC6F3AB31}"/>
              </a:ext>
            </a:extLst>
          </p:cNvPr>
          <p:cNvSpPr/>
          <p:nvPr/>
        </p:nvSpPr>
        <p:spPr>
          <a:xfrm>
            <a:off x="4767374" y="5671714"/>
            <a:ext cx="120375" cy="1203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A3D1714F-2871-4535-A78B-63B6944FD42F}"/>
              </a:ext>
            </a:extLst>
          </p:cNvPr>
          <p:cNvSpPr txBox="1"/>
          <p:nvPr/>
        </p:nvSpPr>
        <p:spPr>
          <a:xfrm>
            <a:off x="10440997" y="2854075"/>
            <a:ext cx="177107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BC4ADC97-EF6C-4506-AC6B-427C861DFE00}"/>
              </a:ext>
            </a:extLst>
          </p:cNvPr>
          <p:cNvSpPr/>
          <p:nvPr/>
        </p:nvSpPr>
        <p:spPr>
          <a:xfrm>
            <a:off x="448875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Chats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E80CA601-BC6E-47B7-8214-73A46421E4F2}"/>
              </a:ext>
            </a:extLst>
          </p:cNvPr>
          <p:cNvSpPr/>
          <p:nvPr/>
        </p:nvSpPr>
        <p:spPr>
          <a:xfrm>
            <a:off x="5950993" y="2996054"/>
            <a:ext cx="1409585" cy="4861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9C55F86F-DD64-4E57-9B9A-5684B8AB9DA6}"/>
              </a:ext>
            </a:extLst>
          </p:cNvPr>
          <p:cNvSpPr/>
          <p:nvPr/>
        </p:nvSpPr>
        <p:spPr>
          <a:xfrm>
            <a:off x="5950993" y="2988434"/>
            <a:ext cx="1409585" cy="486154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Montserrat" panose="00000500000000000000" pitchFamily="2" charset="0"/>
              </a:rPr>
              <a:t>Groups</a:t>
            </a:r>
          </a:p>
        </p:txBody>
      </p:sp>
    </p:spTree>
    <p:extLst>
      <p:ext uri="{BB962C8B-B14F-4D97-AF65-F5344CB8AC3E}">
        <p14:creationId xmlns:p14="http://schemas.microsoft.com/office/powerpoint/2010/main" val="8461505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9: Chat with my matches</a:t>
            </a:r>
          </a:p>
        </p:txBody>
      </p:sp>
    </p:spTree>
    <p:extLst>
      <p:ext uri="{BB962C8B-B14F-4D97-AF65-F5344CB8AC3E}">
        <p14:creationId xmlns:p14="http://schemas.microsoft.com/office/powerpoint/2010/main" val="17432675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1: Connect with matches via other programs</a:t>
            </a:r>
          </a:p>
        </p:txBody>
      </p:sp>
    </p:spTree>
    <p:extLst>
      <p:ext uri="{BB962C8B-B14F-4D97-AF65-F5344CB8AC3E}">
        <p14:creationId xmlns:p14="http://schemas.microsoft.com/office/powerpoint/2010/main" val="6879524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3: Link and verify my account</a:t>
            </a:r>
          </a:p>
        </p:txBody>
      </p:sp>
    </p:spTree>
    <p:extLst>
      <p:ext uri="{BB962C8B-B14F-4D97-AF65-F5344CB8AC3E}">
        <p14:creationId xmlns:p14="http://schemas.microsoft.com/office/powerpoint/2010/main" val="32279092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9BB8C35-3409-4001-8EC9-FBB049776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14: Link and verify my account</a:t>
            </a:r>
          </a:p>
        </p:txBody>
      </p:sp>
    </p:spTree>
    <p:extLst>
      <p:ext uri="{BB962C8B-B14F-4D97-AF65-F5344CB8AC3E}">
        <p14:creationId xmlns:p14="http://schemas.microsoft.com/office/powerpoint/2010/main" val="42726058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84AA0C4-35DA-4B7D-8E4C-4801A24D0B54}"/>
              </a:ext>
            </a:extLst>
          </p:cNvPr>
          <p:cNvSpPr/>
          <p:nvPr/>
        </p:nvSpPr>
        <p:spPr>
          <a:xfrm>
            <a:off x="4127913" y="384689"/>
            <a:ext cx="3540026" cy="6473311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8D878-1F98-4B77-B1E3-7CD157211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/>
              <a:t>FF-12: Login Animation. </a:t>
            </a:r>
            <a:br>
              <a:rPr lang="en-US" sz="1600"/>
            </a:br>
            <a:r>
              <a:rPr lang="en-US" sz="1600"/>
              <a:t>Stickman meme fac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40E552B-FBA8-4BF3-8B58-858E613C5CA4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B3BB4E9-135F-453C-95F8-8FA167F1FC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2207" y="3200968"/>
            <a:ext cx="491503" cy="63606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8AA366-EB1D-4A97-9E66-4189FADA9A6E}"/>
              </a:ext>
            </a:extLst>
          </p:cNvPr>
          <p:cNvSpPr txBox="1"/>
          <p:nvPr/>
        </p:nvSpPr>
        <p:spPr>
          <a:xfrm flipH="1">
            <a:off x="1187435" y="4024781"/>
            <a:ext cx="1781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LOL TINDER</a:t>
            </a:r>
          </a:p>
        </p:txBody>
      </p:sp>
      <p:pic>
        <p:nvPicPr>
          <p:cNvPr id="1028" name="Picture 4" descr="C COABALLA Humor Decor Durable Print Floor Mat,Stickman Meme Face Icon  Looking at Computer Joyful Fun Caricature Comic Design for Home  Office,31''L x 19''W: Amazon.co.uk: Garden &amp; Outdoors">
            <a:extLst>
              <a:ext uri="{FF2B5EF4-FFF2-40B4-BE49-F238E27FC236}">
                <a16:creationId xmlns:a16="http://schemas.microsoft.com/office/drawing/2014/main" id="{47B348B8-84DB-493C-BA50-B2A7C9D57F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734" y="2525380"/>
            <a:ext cx="3153004" cy="198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Fun games joystick icon - Locations Redesign">
            <a:extLst>
              <a:ext uri="{FF2B5EF4-FFF2-40B4-BE49-F238E27FC236}">
                <a16:creationId xmlns:a16="http://schemas.microsoft.com/office/drawing/2014/main" id="{E02C1183-A5A9-48B9-B877-034FCF10B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502" y="2617299"/>
            <a:ext cx="480870" cy="48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8339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84AA0C4-35DA-4B7D-8E4C-4801A24D0B54}"/>
              </a:ext>
            </a:extLst>
          </p:cNvPr>
          <p:cNvSpPr/>
          <p:nvPr/>
        </p:nvSpPr>
        <p:spPr>
          <a:xfrm>
            <a:off x="4127913" y="384689"/>
            <a:ext cx="3540026" cy="6473311"/>
          </a:xfrm>
          <a:prstGeom prst="roundRect">
            <a:avLst/>
          </a:prstGeom>
          <a:solidFill>
            <a:schemeClr val="bg1"/>
          </a:solidFill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8D878-1F98-4B77-B1E3-7CD157211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/>
              <a:t>FF-12: Login Animati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40E552B-FBA8-4BF3-8B58-858E613C5CA4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B3BB4E9-135F-453C-95F8-8FA167F1FC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2172" y="2591368"/>
            <a:ext cx="491503" cy="63606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8AA366-EB1D-4A97-9E66-4189FADA9A6E}"/>
              </a:ext>
            </a:extLst>
          </p:cNvPr>
          <p:cNvSpPr txBox="1"/>
          <p:nvPr/>
        </p:nvSpPr>
        <p:spPr>
          <a:xfrm flipH="1">
            <a:off x="5007400" y="3415181"/>
            <a:ext cx="1781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Montserrat" panose="00000500000000000000" pitchFamily="2" charset="0"/>
              </a:rPr>
              <a:t>FAT FOXES</a:t>
            </a:r>
          </a:p>
        </p:txBody>
      </p:sp>
    </p:spTree>
    <p:extLst>
      <p:ext uri="{BB962C8B-B14F-4D97-AF65-F5344CB8AC3E}">
        <p14:creationId xmlns:p14="http://schemas.microsoft.com/office/powerpoint/2010/main" val="268807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4491E13-0847-484F-AD21-3307B0C8CE8E}"/>
              </a:ext>
            </a:extLst>
          </p:cNvPr>
          <p:cNvSpPr/>
          <p:nvPr/>
        </p:nvSpPr>
        <p:spPr>
          <a:xfrm>
            <a:off x="4127913" y="384689"/>
            <a:ext cx="3540026" cy="6366307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95DFC61-413E-49C9-AB7B-8BD858718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5: Register/Login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2FDD559-D71B-43C4-A6C5-8461CF153333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1D1AF67-BD3C-4487-9E96-92E044F5E76D}"/>
              </a:ext>
            </a:extLst>
          </p:cNvPr>
          <p:cNvSpPr txBox="1"/>
          <p:nvPr/>
        </p:nvSpPr>
        <p:spPr>
          <a:xfrm>
            <a:off x="4451093" y="1064892"/>
            <a:ext cx="29466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>
                <a:latin typeface="Montserrat" panose="00000500000000000000" pitchFamily="2" charset="0"/>
              </a:rPr>
              <a:t>Welcome to Fat Foxes!</a:t>
            </a:r>
          </a:p>
          <a:p>
            <a:pPr algn="ctr"/>
            <a:r>
              <a:rPr lang="en-US" b="1">
                <a:latin typeface="Montserrat" panose="00000500000000000000" pitchFamily="2" charset="0"/>
              </a:rPr>
              <a:t>Let’s get started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E19D298-17D2-4E2D-965D-4C61FE50220F}"/>
              </a:ext>
            </a:extLst>
          </p:cNvPr>
          <p:cNvGrpSpPr/>
          <p:nvPr/>
        </p:nvGrpSpPr>
        <p:grpSpPr>
          <a:xfrm>
            <a:off x="5468323" y="1834507"/>
            <a:ext cx="783955" cy="854993"/>
            <a:chOff x="5443275" y="3221413"/>
            <a:chExt cx="783955" cy="854993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46F6DDC-E38A-4714-AE52-BDA4CC15B354}"/>
                </a:ext>
              </a:extLst>
            </p:cNvPr>
            <p:cNvGrpSpPr/>
            <p:nvPr/>
          </p:nvGrpSpPr>
          <p:grpSpPr>
            <a:xfrm>
              <a:off x="5453806" y="3302982"/>
              <a:ext cx="773424" cy="773424"/>
              <a:chOff x="7889202" y="2616582"/>
              <a:chExt cx="676198" cy="676198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E840F1E-D5E3-4DB9-8849-55AC2E2CEAFF}"/>
                  </a:ext>
                </a:extLst>
              </p:cNvPr>
              <p:cNvSpPr/>
              <p:nvPr/>
            </p:nvSpPr>
            <p:spPr>
              <a:xfrm>
                <a:off x="7968344" y="2808515"/>
                <a:ext cx="505326" cy="18219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0" name="Picture 8" descr="Fun games joystick icon - Locations Redesign">
                <a:extLst>
                  <a:ext uri="{FF2B5EF4-FFF2-40B4-BE49-F238E27FC236}">
                    <a16:creationId xmlns:a16="http://schemas.microsoft.com/office/drawing/2014/main" id="{72654FE2-3DA6-4DD4-9BF1-0E32F9CAE9E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202" y="2616582"/>
                <a:ext cx="676198" cy="676198"/>
              </a:xfrm>
              <a:prstGeom prst="rect">
                <a:avLst/>
              </a:prstGeom>
              <a:noFill/>
            </p:spPr>
          </p:pic>
        </p:grpSp>
        <p:sp>
          <p:nvSpPr>
            <p:cNvPr id="28" name="Arc 27">
              <a:extLst>
                <a:ext uri="{FF2B5EF4-FFF2-40B4-BE49-F238E27FC236}">
                  <a16:creationId xmlns:a16="http://schemas.microsoft.com/office/drawing/2014/main" id="{DEE7D008-821C-4402-8551-C88E19A5E8AF}"/>
                </a:ext>
              </a:extLst>
            </p:cNvPr>
            <p:cNvSpPr/>
            <p:nvPr/>
          </p:nvSpPr>
          <p:spPr>
            <a:xfrm rot="7167260">
              <a:off x="5406180" y="3258508"/>
              <a:ext cx="746153" cy="671963"/>
            </a:xfrm>
            <a:prstGeom prst="arc">
              <a:avLst>
                <a:gd name="adj1" fmla="val 17788439"/>
                <a:gd name="adj2" fmla="val 20564801"/>
              </a:avLst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6489402-EC58-4FFC-9353-14160F40C585}"/>
              </a:ext>
            </a:extLst>
          </p:cNvPr>
          <p:cNvGrpSpPr/>
          <p:nvPr/>
        </p:nvGrpSpPr>
        <p:grpSpPr>
          <a:xfrm>
            <a:off x="4674720" y="3286607"/>
            <a:ext cx="2373097" cy="474716"/>
            <a:chOff x="4674720" y="2954284"/>
            <a:chExt cx="2373097" cy="474716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48C1CE0-00BF-4118-8B48-8A23CED13885}"/>
                </a:ext>
              </a:extLst>
            </p:cNvPr>
            <p:cNvSpPr/>
            <p:nvPr/>
          </p:nvSpPr>
          <p:spPr>
            <a:xfrm>
              <a:off x="4676655" y="2954284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1D466B2-525D-4D50-8E47-DFC4EDD836A1}"/>
                </a:ext>
              </a:extLst>
            </p:cNvPr>
            <p:cNvSpPr txBox="1"/>
            <p:nvPr/>
          </p:nvSpPr>
          <p:spPr>
            <a:xfrm>
              <a:off x="4674720" y="3037754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Email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16A293-823C-469B-B29D-255C1B1A1463}"/>
              </a:ext>
            </a:extLst>
          </p:cNvPr>
          <p:cNvGrpSpPr/>
          <p:nvPr/>
        </p:nvGrpSpPr>
        <p:grpSpPr>
          <a:xfrm>
            <a:off x="4674720" y="3845340"/>
            <a:ext cx="2378362" cy="474716"/>
            <a:chOff x="4674720" y="3845340"/>
            <a:chExt cx="2378362" cy="47471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8DB2D61-CFFE-4AE7-8AA9-E699EB547683}"/>
                </a:ext>
              </a:extLst>
            </p:cNvPr>
            <p:cNvSpPr/>
            <p:nvPr/>
          </p:nvSpPr>
          <p:spPr>
            <a:xfrm>
              <a:off x="4681920" y="3845340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636D5B2-6CB4-4497-ABE0-98B9FD30DAB7}"/>
                </a:ext>
              </a:extLst>
            </p:cNvPr>
            <p:cNvSpPr txBox="1"/>
            <p:nvPr/>
          </p:nvSpPr>
          <p:spPr>
            <a:xfrm>
              <a:off x="4674720" y="3928810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Password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22C97E72-38DE-49C8-8CDD-2A6C65D030E5}"/>
              </a:ext>
            </a:extLst>
          </p:cNvPr>
          <p:cNvSpPr txBox="1"/>
          <p:nvPr/>
        </p:nvSpPr>
        <p:spPr>
          <a:xfrm>
            <a:off x="4620658" y="2926130"/>
            <a:ext cx="2371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Montserrat" panose="00000500000000000000" pitchFamily="2" charset="0"/>
              </a:rPr>
              <a:t>SIGN I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F2290A6-A629-4707-9531-CE1A06CCCCD1}"/>
              </a:ext>
            </a:extLst>
          </p:cNvPr>
          <p:cNvSpPr/>
          <p:nvPr/>
        </p:nvSpPr>
        <p:spPr>
          <a:xfrm>
            <a:off x="4681920" y="4403526"/>
            <a:ext cx="2371162" cy="4747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Register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A3797A-A8F4-45DD-A50D-0246E690CF75}"/>
              </a:ext>
            </a:extLst>
          </p:cNvPr>
          <p:cNvCxnSpPr/>
          <p:nvPr/>
        </p:nvCxnSpPr>
        <p:spPr>
          <a:xfrm>
            <a:off x="4681919" y="5321030"/>
            <a:ext cx="23711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C9E7F2-D5B5-4CAE-8D1B-259641CA7B08}"/>
              </a:ext>
            </a:extLst>
          </p:cNvPr>
          <p:cNvSpPr txBox="1"/>
          <p:nvPr/>
        </p:nvSpPr>
        <p:spPr>
          <a:xfrm>
            <a:off x="5624753" y="5167141"/>
            <a:ext cx="48549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Or</a:t>
            </a:r>
          </a:p>
        </p:txBody>
      </p:sp>
      <p:pic>
        <p:nvPicPr>
          <p:cNvPr id="41" name="Picture 2" descr="Change the logo as it doesn't follow the Sign in Branding Guidelines  [#3108975] | Drupal.org">
            <a:extLst>
              <a:ext uri="{FF2B5EF4-FFF2-40B4-BE49-F238E27FC236}">
                <a16:creationId xmlns:a16="http://schemas.microsoft.com/office/drawing/2014/main" id="{67657512-3148-4385-92D2-FD1D7CDD0A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514" y="5471617"/>
            <a:ext cx="2702103" cy="58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6A6C5C0F-470F-4974-B604-B80239587FBD}"/>
              </a:ext>
            </a:extLst>
          </p:cNvPr>
          <p:cNvGrpSpPr/>
          <p:nvPr/>
        </p:nvGrpSpPr>
        <p:grpSpPr>
          <a:xfrm>
            <a:off x="346820" y="340811"/>
            <a:ext cx="3540026" cy="6366307"/>
            <a:chOff x="2127663" y="569355"/>
            <a:chExt cx="3540026" cy="6473311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B6F3393C-8F86-4F2A-ACAA-CBC1B1FB08F0}"/>
                </a:ext>
              </a:extLst>
            </p:cNvPr>
            <p:cNvSpPr/>
            <p:nvPr/>
          </p:nvSpPr>
          <p:spPr>
            <a:xfrm>
              <a:off x="2127663" y="569355"/>
              <a:ext cx="3540026" cy="6473311"/>
            </a:xfrm>
            <a:prstGeom prst="roundRect">
              <a:avLst/>
            </a:prstGeom>
            <a:solidFill>
              <a:schemeClr val="tx1"/>
            </a:solidFill>
            <a:ln w="381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D1D870D-0AF8-4413-A558-BC83137AF210}"/>
                </a:ext>
              </a:extLst>
            </p:cNvPr>
            <p:cNvSpPr txBox="1"/>
            <p:nvPr/>
          </p:nvSpPr>
          <p:spPr>
            <a:xfrm flipH="1">
              <a:off x="3007151" y="3621344"/>
              <a:ext cx="1781049" cy="375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  <a:latin typeface="Montserrat" panose="00000500000000000000" pitchFamily="2" charset="0"/>
                </a:rPr>
                <a:t>FAT FOX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2540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D4C1668-B2EF-425F-9C77-B3E319EFB67F}"/>
              </a:ext>
            </a:extLst>
          </p:cNvPr>
          <p:cNvSpPr/>
          <p:nvPr/>
        </p:nvSpPr>
        <p:spPr>
          <a:xfrm>
            <a:off x="4127913" y="384689"/>
            <a:ext cx="3540026" cy="6356579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9DFB2BB-A895-4091-805E-EE638581F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1600"/>
              <a:t>FF-5: Register/Logi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918AA4F-E85B-4CD8-830D-08558174930D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9A3369-5739-4D4A-BFE9-2DB82C4D67BC}"/>
              </a:ext>
            </a:extLst>
          </p:cNvPr>
          <p:cNvSpPr txBox="1"/>
          <p:nvPr/>
        </p:nvSpPr>
        <p:spPr>
          <a:xfrm>
            <a:off x="4927183" y="1064892"/>
            <a:ext cx="19944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>
                <a:latin typeface="Montserrat" panose="00000500000000000000" pitchFamily="2" charset="0"/>
              </a:rPr>
              <a:t>Good morning,</a:t>
            </a:r>
          </a:p>
          <a:p>
            <a:pPr algn="ctr"/>
            <a:r>
              <a:rPr lang="en-US" b="1">
                <a:latin typeface="Montserrat" panose="00000500000000000000" pitchFamily="2" charset="0"/>
              </a:rPr>
              <a:t>Donald Trump</a:t>
            </a:r>
          </a:p>
        </p:txBody>
      </p:sp>
      <p:pic>
        <p:nvPicPr>
          <p:cNvPr id="6" name="Picture 2" descr="How Touch ID is a security flaw. CC: @Apple | by Braxton is seeking design  opportunities in tech 🎓 | Medium">
            <a:extLst>
              <a:ext uri="{FF2B5EF4-FFF2-40B4-BE49-F238E27FC236}">
                <a16:creationId xmlns:a16="http://schemas.microsoft.com/office/drawing/2014/main" id="{FA4A8B28-754C-4487-8794-589398582B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58"/>
          <a:stretch/>
        </p:blipFill>
        <p:spPr bwMode="auto">
          <a:xfrm>
            <a:off x="5267362" y="5563947"/>
            <a:ext cx="1182008" cy="732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64EB38A0-B629-48B6-BA72-7C1F5ED7FA37}"/>
              </a:ext>
            </a:extLst>
          </p:cNvPr>
          <p:cNvGrpSpPr/>
          <p:nvPr/>
        </p:nvGrpSpPr>
        <p:grpSpPr>
          <a:xfrm>
            <a:off x="5468323" y="1834507"/>
            <a:ext cx="783955" cy="854993"/>
            <a:chOff x="5443275" y="3221413"/>
            <a:chExt cx="783955" cy="854993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A93D6E7-92AC-4F45-8D8C-AD58E8B9F12E}"/>
                </a:ext>
              </a:extLst>
            </p:cNvPr>
            <p:cNvGrpSpPr/>
            <p:nvPr/>
          </p:nvGrpSpPr>
          <p:grpSpPr>
            <a:xfrm>
              <a:off x="5453806" y="3302982"/>
              <a:ext cx="773424" cy="773424"/>
              <a:chOff x="7889202" y="2616582"/>
              <a:chExt cx="676198" cy="676198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F86D0F0-B4D3-45C8-A87E-CF6A75514F3F}"/>
                  </a:ext>
                </a:extLst>
              </p:cNvPr>
              <p:cNvSpPr/>
              <p:nvPr/>
            </p:nvSpPr>
            <p:spPr>
              <a:xfrm>
                <a:off x="7968344" y="2808515"/>
                <a:ext cx="505326" cy="18219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1" name="Picture 8" descr="Fun games joystick icon - Locations Redesign">
                <a:extLst>
                  <a:ext uri="{FF2B5EF4-FFF2-40B4-BE49-F238E27FC236}">
                    <a16:creationId xmlns:a16="http://schemas.microsoft.com/office/drawing/2014/main" id="{F565A607-0479-4B28-9A1F-14A8514002C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202" y="2616582"/>
                <a:ext cx="676198" cy="676198"/>
              </a:xfrm>
              <a:prstGeom prst="rect">
                <a:avLst/>
              </a:prstGeom>
              <a:noFill/>
            </p:spPr>
          </p:pic>
        </p:grp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647B0CA8-05FD-4199-8587-40D21FE3F692}"/>
                </a:ext>
              </a:extLst>
            </p:cNvPr>
            <p:cNvSpPr/>
            <p:nvPr/>
          </p:nvSpPr>
          <p:spPr>
            <a:xfrm rot="7167260">
              <a:off x="5406180" y="3258508"/>
              <a:ext cx="746153" cy="671963"/>
            </a:xfrm>
            <a:prstGeom prst="arc">
              <a:avLst>
                <a:gd name="adj1" fmla="val 17788439"/>
                <a:gd name="adj2" fmla="val 20564801"/>
              </a:avLst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F6D8B27-2AD3-4BB9-A9D2-907C93EAA849}"/>
              </a:ext>
            </a:extLst>
          </p:cNvPr>
          <p:cNvGrpSpPr/>
          <p:nvPr/>
        </p:nvGrpSpPr>
        <p:grpSpPr>
          <a:xfrm>
            <a:off x="4674720" y="3286607"/>
            <a:ext cx="2373097" cy="474716"/>
            <a:chOff x="4674720" y="2954284"/>
            <a:chExt cx="2373097" cy="47471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926404-461C-4E83-80AF-9F13F535206B}"/>
                </a:ext>
              </a:extLst>
            </p:cNvPr>
            <p:cNvSpPr/>
            <p:nvPr/>
          </p:nvSpPr>
          <p:spPr>
            <a:xfrm>
              <a:off x="4676655" y="2954284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93A7D67-1CB5-455D-AACD-B47F84A19380}"/>
                </a:ext>
              </a:extLst>
            </p:cNvPr>
            <p:cNvSpPr txBox="1"/>
            <p:nvPr/>
          </p:nvSpPr>
          <p:spPr>
            <a:xfrm>
              <a:off x="4674720" y="3037754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Email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7548D7-124E-4FDA-967C-2F353975769F}"/>
              </a:ext>
            </a:extLst>
          </p:cNvPr>
          <p:cNvGrpSpPr/>
          <p:nvPr/>
        </p:nvGrpSpPr>
        <p:grpSpPr>
          <a:xfrm>
            <a:off x="4674720" y="3845340"/>
            <a:ext cx="2378362" cy="474716"/>
            <a:chOff x="4674720" y="3845340"/>
            <a:chExt cx="2378362" cy="47471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6F321BB-80DE-4553-92DA-134D2B037BF3}"/>
                </a:ext>
              </a:extLst>
            </p:cNvPr>
            <p:cNvSpPr/>
            <p:nvPr/>
          </p:nvSpPr>
          <p:spPr>
            <a:xfrm>
              <a:off x="4681920" y="3845340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5BB4B0A-01BF-459D-A842-354092894346}"/>
                </a:ext>
              </a:extLst>
            </p:cNvPr>
            <p:cNvSpPr txBox="1"/>
            <p:nvPr/>
          </p:nvSpPr>
          <p:spPr>
            <a:xfrm>
              <a:off x="4674720" y="3928810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Password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CB86E7A-CA1D-44D7-9E3E-7061F72CF272}"/>
              </a:ext>
            </a:extLst>
          </p:cNvPr>
          <p:cNvSpPr txBox="1"/>
          <p:nvPr/>
        </p:nvSpPr>
        <p:spPr>
          <a:xfrm>
            <a:off x="4620658" y="2926130"/>
            <a:ext cx="2425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Montserrat" panose="00000500000000000000" pitchFamily="2" charset="0"/>
              </a:rPr>
              <a:t>SIGN I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AB5C643-0B4A-4451-8BC2-7B0F016FFA68}"/>
              </a:ext>
            </a:extLst>
          </p:cNvPr>
          <p:cNvSpPr/>
          <p:nvPr/>
        </p:nvSpPr>
        <p:spPr>
          <a:xfrm>
            <a:off x="4681920" y="4403526"/>
            <a:ext cx="2371162" cy="4747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Log I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5E26E4F-78DB-4B62-9C20-33E872BED6AE}"/>
              </a:ext>
            </a:extLst>
          </p:cNvPr>
          <p:cNvCxnSpPr/>
          <p:nvPr/>
        </p:nvCxnSpPr>
        <p:spPr>
          <a:xfrm>
            <a:off x="4681919" y="5321030"/>
            <a:ext cx="23711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0B21D23-FAF6-41EE-A032-E73C4145C2A7}"/>
              </a:ext>
            </a:extLst>
          </p:cNvPr>
          <p:cNvSpPr txBox="1"/>
          <p:nvPr/>
        </p:nvSpPr>
        <p:spPr>
          <a:xfrm>
            <a:off x="5176003" y="5167141"/>
            <a:ext cx="13791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Use Touch ID</a:t>
            </a:r>
          </a:p>
        </p:txBody>
      </p:sp>
      <p:pic>
        <p:nvPicPr>
          <p:cNvPr id="22" name="Picture 2" descr="Customer Care Icon #398414 - Free Icons Library">
            <a:extLst>
              <a:ext uri="{FF2B5EF4-FFF2-40B4-BE49-F238E27FC236}">
                <a16:creationId xmlns:a16="http://schemas.microsoft.com/office/drawing/2014/main" id="{05B5673F-A229-41C0-BFBB-1079189A4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9968" y="2512429"/>
            <a:ext cx="413701" cy="41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A96E5AE-11D9-49F6-8129-5974F7C943E8}"/>
              </a:ext>
            </a:extLst>
          </p:cNvPr>
          <p:cNvSpPr txBox="1"/>
          <p:nvPr/>
        </p:nvSpPr>
        <p:spPr>
          <a:xfrm>
            <a:off x="9777541" y="2718381"/>
            <a:ext cx="33855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???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07337DF-4B52-403D-95EB-072AC42055A4}"/>
              </a:ext>
            </a:extLst>
          </p:cNvPr>
          <p:cNvSpPr txBox="1"/>
          <p:nvPr/>
        </p:nvSpPr>
        <p:spPr>
          <a:xfrm>
            <a:off x="9792773" y="3136527"/>
            <a:ext cx="8838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>
                <a:latin typeface="Montserrat" panose="00000500000000000000" pitchFamily="2" charset="0"/>
              </a:rPr>
              <a:t>Help me</a:t>
            </a:r>
          </a:p>
        </p:txBody>
      </p:sp>
    </p:spTree>
    <p:extLst>
      <p:ext uri="{BB962C8B-B14F-4D97-AF65-F5344CB8AC3E}">
        <p14:creationId xmlns:p14="http://schemas.microsoft.com/office/powerpoint/2010/main" val="3031931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84AA0C4-35DA-4B7D-8E4C-4801A24D0B54}"/>
              </a:ext>
            </a:extLst>
          </p:cNvPr>
          <p:cNvSpPr/>
          <p:nvPr/>
        </p:nvSpPr>
        <p:spPr>
          <a:xfrm>
            <a:off x="4127913" y="384689"/>
            <a:ext cx="3540026" cy="6473311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8D878-1F98-4B77-B1E3-7CD157211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/>
              <a:t>FF-5: Register/Logi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DA7F5F-4A0D-43F1-8411-B7D6226CDD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1265" y="882446"/>
            <a:ext cx="3001941" cy="46905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94ADC18-0724-43D2-9662-DD029EAD0F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2768" y="2306551"/>
            <a:ext cx="1133475" cy="1466850"/>
          </a:xfrm>
          <a:prstGeom prst="rect">
            <a:avLst/>
          </a:prstGeom>
        </p:spPr>
      </p:pic>
      <p:pic>
        <p:nvPicPr>
          <p:cNvPr id="1026" name="Picture 2" descr="Change the logo as it doesn't follow the Sign in Branding Guidelines  [#3108975] | Drupal.org">
            <a:extLst>
              <a:ext uri="{FF2B5EF4-FFF2-40B4-BE49-F238E27FC236}">
                <a16:creationId xmlns:a16="http://schemas.microsoft.com/office/drawing/2014/main" id="{FED2123C-E0BD-448B-A3E7-A6F27F337A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183" y="6035791"/>
            <a:ext cx="2702103" cy="58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40E552B-FBA8-4BF3-8B58-858E613C5CA4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38AE50-CF9E-4ECB-8FCB-1E2234DB7AA4}"/>
              </a:ext>
            </a:extLst>
          </p:cNvPr>
          <p:cNvSpPr/>
          <p:nvPr/>
        </p:nvSpPr>
        <p:spPr>
          <a:xfrm>
            <a:off x="4582565" y="4816155"/>
            <a:ext cx="2630721" cy="5146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gi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348CD54-CAB9-493A-AAA9-259448D32BEB}"/>
              </a:ext>
            </a:extLst>
          </p:cNvPr>
          <p:cNvSpPr/>
          <p:nvPr/>
        </p:nvSpPr>
        <p:spPr>
          <a:xfrm>
            <a:off x="4582565" y="5425973"/>
            <a:ext cx="2630721" cy="51466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gister</a:t>
            </a:r>
          </a:p>
        </p:txBody>
      </p:sp>
    </p:spTree>
    <p:extLst>
      <p:ext uri="{BB962C8B-B14F-4D97-AF65-F5344CB8AC3E}">
        <p14:creationId xmlns:p14="http://schemas.microsoft.com/office/powerpoint/2010/main" val="621867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84AA0C4-35DA-4B7D-8E4C-4801A24D0B54}"/>
              </a:ext>
            </a:extLst>
          </p:cNvPr>
          <p:cNvSpPr/>
          <p:nvPr/>
        </p:nvSpPr>
        <p:spPr>
          <a:xfrm>
            <a:off x="4127913" y="384689"/>
            <a:ext cx="3540026" cy="6473311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8D878-1F98-4B77-B1E3-7CD157211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/>
              <a:t>FF-5: Register/Logi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40E552B-FBA8-4BF3-8B58-858E613C5CA4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77C185-853E-461E-A44F-5FC49FB7EE19}"/>
              </a:ext>
            </a:extLst>
          </p:cNvPr>
          <p:cNvSpPr txBox="1"/>
          <p:nvPr/>
        </p:nvSpPr>
        <p:spPr>
          <a:xfrm>
            <a:off x="4451093" y="1064892"/>
            <a:ext cx="29466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>
                <a:latin typeface="Montserrat" panose="00000500000000000000" pitchFamily="2" charset="0"/>
              </a:rPr>
              <a:t>Welcome to Fat Foxes!</a:t>
            </a:r>
          </a:p>
          <a:p>
            <a:pPr algn="ctr"/>
            <a:r>
              <a:rPr lang="en-US" b="1">
                <a:latin typeface="Montserrat" panose="00000500000000000000" pitchFamily="2" charset="0"/>
              </a:rPr>
              <a:t>Let’s get start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5CE68D9-1A1D-4470-892B-16143AFE93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26" y="1782517"/>
            <a:ext cx="3001941" cy="46905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3438F3-A63D-4052-95F5-FC4047B1B4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4963" y="4910130"/>
            <a:ext cx="2303330" cy="132556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277D68C-CA75-499C-BF1C-8687B0604262}"/>
              </a:ext>
            </a:extLst>
          </p:cNvPr>
          <p:cNvGrpSpPr/>
          <p:nvPr/>
        </p:nvGrpSpPr>
        <p:grpSpPr>
          <a:xfrm>
            <a:off x="5468323" y="1834507"/>
            <a:ext cx="783955" cy="854993"/>
            <a:chOff x="5443275" y="3221413"/>
            <a:chExt cx="783955" cy="85499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F05906C-C7C3-46EA-BFC1-A5F660D281F2}"/>
                </a:ext>
              </a:extLst>
            </p:cNvPr>
            <p:cNvGrpSpPr/>
            <p:nvPr/>
          </p:nvGrpSpPr>
          <p:grpSpPr>
            <a:xfrm>
              <a:off x="5453806" y="3302982"/>
              <a:ext cx="773424" cy="773424"/>
              <a:chOff x="7889202" y="2616582"/>
              <a:chExt cx="676198" cy="67619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B1F3460-6DF1-4FA9-A0D6-8C38DA7EE5AD}"/>
                  </a:ext>
                </a:extLst>
              </p:cNvPr>
              <p:cNvSpPr/>
              <p:nvPr/>
            </p:nvSpPr>
            <p:spPr>
              <a:xfrm>
                <a:off x="7968344" y="2808515"/>
                <a:ext cx="505326" cy="18219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9" name="Picture 8" descr="Fun games joystick icon - Locations Redesign">
                <a:extLst>
                  <a:ext uri="{FF2B5EF4-FFF2-40B4-BE49-F238E27FC236}">
                    <a16:creationId xmlns:a16="http://schemas.microsoft.com/office/drawing/2014/main" id="{E261E4BA-5DA3-46BA-B5CE-EA75693010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202" y="2616582"/>
                <a:ext cx="676198" cy="676198"/>
              </a:xfrm>
              <a:prstGeom prst="rect">
                <a:avLst/>
              </a:prstGeom>
              <a:noFill/>
            </p:spPr>
          </p:pic>
        </p:grpSp>
        <p:sp>
          <p:nvSpPr>
            <p:cNvPr id="20" name="Arc 19">
              <a:extLst>
                <a:ext uri="{FF2B5EF4-FFF2-40B4-BE49-F238E27FC236}">
                  <a16:creationId xmlns:a16="http://schemas.microsoft.com/office/drawing/2014/main" id="{1619975D-7233-4748-A23A-04D02A13682C}"/>
                </a:ext>
              </a:extLst>
            </p:cNvPr>
            <p:cNvSpPr/>
            <p:nvPr/>
          </p:nvSpPr>
          <p:spPr>
            <a:xfrm rot="7167260">
              <a:off x="5406180" y="3258508"/>
              <a:ext cx="746153" cy="671963"/>
            </a:xfrm>
            <a:prstGeom prst="arc">
              <a:avLst>
                <a:gd name="adj1" fmla="val 17788439"/>
                <a:gd name="adj2" fmla="val 20564801"/>
              </a:avLst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957889A-E246-4BDC-A1E5-A23D178902FD}"/>
              </a:ext>
            </a:extLst>
          </p:cNvPr>
          <p:cNvGrpSpPr/>
          <p:nvPr/>
        </p:nvGrpSpPr>
        <p:grpSpPr>
          <a:xfrm>
            <a:off x="4674720" y="3286607"/>
            <a:ext cx="2373097" cy="474716"/>
            <a:chOff x="4674720" y="2954284"/>
            <a:chExt cx="2373097" cy="47471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AC3E62C-9D71-4E5C-B68A-1029FC0B9B7B}"/>
                </a:ext>
              </a:extLst>
            </p:cNvPr>
            <p:cNvSpPr/>
            <p:nvPr/>
          </p:nvSpPr>
          <p:spPr>
            <a:xfrm>
              <a:off x="4676655" y="2954284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2ADFFA7-8D5B-49FB-BEF3-3B9AA5A5E07B}"/>
                </a:ext>
              </a:extLst>
            </p:cNvPr>
            <p:cNvSpPr txBox="1"/>
            <p:nvPr/>
          </p:nvSpPr>
          <p:spPr>
            <a:xfrm>
              <a:off x="4674720" y="3037754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Email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E90BC1D-414E-4553-8E20-5B722B0FBFCB}"/>
              </a:ext>
            </a:extLst>
          </p:cNvPr>
          <p:cNvGrpSpPr/>
          <p:nvPr/>
        </p:nvGrpSpPr>
        <p:grpSpPr>
          <a:xfrm>
            <a:off x="4674720" y="3845340"/>
            <a:ext cx="2378362" cy="474716"/>
            <a:chOff x="4674720" y="3845340"/>
            <a:chExt cx="2378362" cy="47471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9FBAB28-E13A-4385-8A49-4B8FE9B4C776}"/>
                </a:ext>
              </a:extLst>
            </p:cNvPr>
            <p:cNvSpPr/>
            <p:nvPr/>
          </p:nvSpPr>
          <p:spPr>
            <a:xfrm>
              <a:off x="4681920" y="3845340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3F8DA3D-C135-4F6D-A94F-B043C5B0FCB0}"/>
                </a:ext>
              </a:extLst>
            </p:cNvPr>
            <p:cNvSpPr txBox="1"/>
            <p:nvPr/>
          </p:nvSpPr>
          <p:spPr>
            <a:xfrm>
              <a:off x="4674720" y="3928810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Password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6D08F8E5-7F45-489B-AA04-AD254CED4B2C}"/>
              </a:ext>
            </a:extLst>
          </p:cNvPr>
          <p:cNvSpPr txBox="1"/>
          <p:nvPr/>
        </p:nvSpPr>
        <p:spPr>
          <a:xfrm>
            <a:off x="4620658" y="2926130"/>
            <a:ext cx="2371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Montserrat" panose="00000500000000000000" pitchFamily="2" charset="0"/>
              </a:rPr>
              <a:t>SIGN I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6FF7355-3E6A-42FA-BFA9-4C3C302DBD49}"/>
              </a:ext>
            </a:extLst>
          </p:cNvPr>
          <p:cNvSpPr/>
          <p:nvPr/>
        </p:nvSpPr>
        <p:spPr>
          <a:xfrm>
            <a:off x="4681920" y="4403526"/>
            <a:ext cx="2371162" cy="4747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Montserrat" panose="00000500000000000000" pitchFamily="2" charset="0"/>
              </a:rPr>
              <a:t>Register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3B1B275-9B0B-41B2-AE74-657E6F593480}"/>
              </a:ext>
            </a:extLst>
          </p:cNvPr>
          <p:cNvSpPr/>
          <p:nvPr/>
        </p:nvSpPr>
        <p:spPr>
          <a:xfrm>
            <a:off x="9399835" y="3063051"/>
            <a:ext cx="1037944" cy="47471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/>
              <a:t>Register</a:t>
            </a:r>
          </a:p>
        </p:txBody>
      </p: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5D8D23D2-372E-4500-9E16-1D3D4D0A68B3}"/>
              </a:ext>
            </a:extLst>
          </p:cNvPr>
          <p:cNvCxnSpPr/>
          <p:nvPr/>
        </p:nvCxnSpPr>
        <p:spPr>
          <a:xfrm>
            <a:off x="4681919" y="5321030"/>
            <a:ext cx="23711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4070A8D-586B-460A-BCF9-E2D9B72171E2}"/>
              </a:ext>
            </a:extLst>
          </p:cNvPr>
          <p:cNvSpPr txBox="1"/>
          <p:nvPr/>
        </p:nvSpPr>
        <p:spPr>
          <a:xfrm>
            <a:off x="5624753" y="5167141"/>
            <a:ext cx="48549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Or</a:t>
            </a:r>
          </a:p>
        </p:txBody>
      </p:sp>
      <p:pic>
        <p:nvPicPr>
          <p:cNvPr id="35" name="Picture 2" descr="Change the logo as it doesn't follow the Sign in Branding Guidelines  [#3108975] | Drupal.org">
            <a:extLst>
              <a:ext uri="{FF2B5EF4-FFF2-40B4-BE49-F238E27FC236}">
                <a16:creationId xmlns:a16="http://schemas.microsoft.com/office/drawing/2014/main" id="{E2E206C9-AC87-4921-A08B-63E22FD7E4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514" y="5471617"/>
            <a:ext cx="2702103" cy="58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57892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84AA0C4-35DA-4B7D-8E4C-4801A24D0B54}"/>
              </a:ext>
            </a:extLst>
          </p:cNvPr>
          <p:cNvSpPr/>
          <p:nvPr/>
        </p:nvSpPr>
        <p:spPr>
          <a:xfrm>
            <a:off x="4127913" y="384689"/>
            <a:ext cx="3540026" cy="6473311"/>
          </a:xfrm>
          <a:prstGeom prst="roundRect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48D878-1F98-4B77-B1E3-7CD157211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/>
              <a:t>FF-5: Register/Logi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40E552B-FBA8-4BF3-8B58-858E613C5CA4}"/>
              </a:ext>
            </a:extLst>
          </p:cNvPr>
          <p:cNvSpPr/>
          <p:nvPr/>
        </p:nvSpPr>
        <p:spPr>
          <a:xfrm>
            <a:off x="4738831" y="384949"/>
            <a:ext cx="2246810" cy="31033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77C185-853E-461E-A44F-5FC49FB7EE19}"/>
              </a:ext>
            </a:extLst>
          </p:cNvPr>
          <p:cNvSpPr txBox="1"/>
          <p:nvPr/>
        </p:nvSpPr>
        <p:spPr>
          <a:xfrm>
            <a:off x="4927183" y="1064892"/>
            <a:ext cx="19944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>
                <a:latin typeface="Montserrat" panose="00000500000000000000" pitchFamily="2" charset="0"/>
              </a:rPr>
              <a:t>Good morning,</a:t>
            </a:r>
          </a:p>
          <a:p>
            <a:pPr algn="ctr"/>
            <a:r>
              <a:rPr lang="en-US" b="1">
                <a:latin typeface="Montserrat" panose="00000500000000000000" pitchFamily="2" charset="0"/>
              </a:rPr>
              <a:t>Donald Trump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5CE68D9-1A1D-4470-892B-16143AFE93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26" y="1782517"/>
            <a:ext cx="3001941" cy="4690534"/>
          </a:xfrm>
          <a:prstGeom prst="rect">
            <a:avLst/>
          </a:prstGeom>
        </p:spPr>
      </p:pic>
      <p:pic>
        <p:nvPicPr>
          <p:cNvPr id="5" name="Picture 2" descr="How Touch ID is a security flaw. CC: @Apple | by Braxton is seeking design  opportunities in tech 🎓 | Medium">
            <a:extLst>
              <a:ext uri="{FF2B5EF4-FFF2-40B4-BE49-F238E27FC236}">
                <a16:creationId xmlns:a16="http://schemas.microsoft.com/office/drawing/2014/main" id="{B546FEA2-DE34-4F3B-AB83-5ED53B0908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58"/>
          <a:stretch/>
        </p:blipFill>
        <p:spPr bwMode="auto">
          <a:xfrm>
            <a:off x="5267362" y="5563947"/>
            <a:ext cx="1182008" cy="732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3438F3-A63D-4052-95F5-FC4047B1B4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4963" y="4910130"/>
            <a:ext cx="2303330" cy="132556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277D68C-CA75-499C-BF1C-8687B0604262}"/>
              </a:ext>
            </a:extLst>
          </p:cNvPr>
          <p:cNvGrpSpPr/>
          <p:nvPr/>
        </p:nvGrpSpPr>
        <p:grpSpPr>
          <a:xfrm>
            <a:off x="5468323" y="1834507"/>
            <a:ext cx="783955" cy="854993"/>
            <a:chOff x="5443275" y="3221413"/>
            <a:chExt cx="783955" cy="85499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F05906C-C7C3-46EA-BFC1-A5F660D281F2}"/>
                </a:ext>
              </a:extLst>
            </p:cNvPr>
            <p:cNvGrpSpPr/>
            <p:nvPr/>
          </p:nvGrpSpPr>
          <p:grpSpPr>
            <a:xfrm>
              <a:off x="5453806" y="3302982"/>
              <a:ext cx="773424" cy="773424"/>
              <a:chOff x="7889202" y="2616582"/>
              <a:chExt cx="676198" cy="67619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B1F3460-6DF1-4FA9-A0D6-8C38DA7EE5AD}"/>
                  </a:ext>
                </a:extLst>
              </p:cNvPr>
              <p:cNvSpPr/>
              <p:nvPr/>
            </p:nvSpPr>
            <p:spPr>
              <a:xfrm>
                <a:off x="7968344" y="2808515"/>
                <a:ext cx="505326" cy="18219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9" name="Picture 8" descr="Fun games joystick icon - Locations Redesign">
                <a:extLst>
                  <a:ext uri="{FF2B5EF4-FFF2-40B4-BE49-F238E27FC236}">
                    <a16:creationId xmlns:a16="http://schemas.microsoft.com/office/drawing/2014/main" id="{E261E4BA-5DA3-46BA-B5CE-EA75693010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9202" y="2616582"/>
                <a:ext cx="676198" cy="676198"/>
              </a:xfrm>
              <a:prstGeom prst="rect">
                <a:avLst/>
              </a:prstGeom>
              <a:noFill/>
            </p:spPr>
          </p:pic>
        </p:grpSp>
        <p:sp>
          <p:nvSpPr>
            <p:cNvPr id="20" name="Arc 19">
              <a:extLst>
                <a:ext uri="{FF2B5EF4-FFF2-40B4-BE49-F238E27FC236}">
                  <a16:creationId xmlns:a16="http://schemas.microsoft.com/office/drawing/2014/main" id="{1619975D-7233-4748-A23A-04D02A13682C}"/>
                </a:ext>
              </a:extLst>
            </p:cNvPr>
            <p:cNvSpPr/>
            <p:nvPr/>
          </p:nvSpPr>
          <p:spPr>
            <a:xfrm rot="7167260">
              <a:off x="5406180" y="3258508"/>
              <a:ext cx="746153" cy="671963"/>
            </a:xfrm>
            <a:prstGeom prst="arc">
              <a:avLst>
                <a:gd name="adj1" fmla="val 17788439"/>
                <a:gd name="adj2" fmla="val 20564801"/>
              </a:avLst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957889A-E246-4BDC-A1E5-A23D178902FD}"/>
              </a:ext>
            </a:extLst>
          </p:cNvPr>
          <p:cNvGrpSpPr/>
          <p:nvPr/>
        </p:nvGrpSpPr>
        <p:grpSpPr>
          <a:xfrm>
            <a:off x="4674720" y="3286607"/>
            <a:ext cx="2373097" cy="474716"/>
            <a:chOff x="4674720" y="2954284"/>
            <a:chExt cx="2373097" cy="47471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AC3E62C-9D71-4E5C-B68A-1029FC0B9B7B}"/>
                </a:ext>
              </a:extLst>
            </p:cNvPr>
            <p:cNvSpPr/>
            <p:nvPr/>
          </p:nvSpPr>
          <p:spPr>
            <a:xfrm>
              <a:off x="4676655" y="2954284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2ADFFA7-8D5B-49FB-BEF3-3B9AA5A5E07B}"/>
                </a:ext>
              </a:extLst>
            </p:cNvPr>
            <p:cNvSpPr txBox="1"/>
            <p:nvPr/>
          </p:nvSpPr>
          <p:spPr>
            <a:xfrm>
              <a:off x="4674720" y="3037754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Email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E90BC1D-414E-4553-8E20-5B722B0FBFCB}"/>
              </a:ext>
            </a:extLst>
          </p:cNvPr>
          <p:cNvGrpSpPr/>
          <p:nvPr/>
        </p:nvGrpSpPr>
        <p:grpSpPr>
          <a:xfrm>
            <a:off x="4674720" y="3845340"/>
            <a:ext cx="2378362" cy="474716"/>
            <a:chOff x="4674720" y="3845340"/>
            <a:chExt cx="2378362" cy="47471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9FBAB28-E13A-4385-8A49-4B8FE9B4C776}"/>
                </a:ext>
              </a:extLst>
            </p:cNvPr>
            <p:cNvSpPr/>
            <p:nvPr/>
          </p:nvSpPr>
          <p:spPr>
            <a:xfrm>
              <a:off x="4681920" y="3845340"/>
              <a:ext cx="2371162" cy="474716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3F8DA3D-C135-4F6D-A94F-B043C5B0FCB0}"/>
                </a:ext>
              </a:extLst>
            </p:cNvPr>
            <p:cNvSpPr txBox="1"/>
            <p:nvPr/>
          </p:nvSpPr>
          <p:spPr>
            <a:xfrm>
              <a:off x="4674720" y="3928810"/>
              <a:ext cx="23711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Montserrat" panose="00000500000000000000" pitchFamily="2" charset="0"/>
                </a:rPr>
                <a:t>Password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6D08F8E5-7F45-489B-AA04-AD254CED4B2C}"/>
              </a:ext>
            </a:extLst>
          </p:cNvPr>
          <p:cNvSpPr txBox="1"/>
          <p:nvPr/>
        </p:nvSpPr>
        <p:spPr>
          <a:xfrm>
            <a:off x="4620658" y="2926130"/>
            <a:ext cx="2371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Montserrat" panose="00000500000000000000" pitchFamily="2" charset="0"/>
              </a:rPr>
              <a:t>SIGN I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6FF7355-3E6A-42FA-BFA9-4C3C302DBD49}"/>
              </a:ext>
            </a:extLst>
          </p:cNvPr>
          <p:cNvSpPr/>
          <p:nvPr/>
        </p:nvSpPr>
        <p:spPr>
          <a:xfrm>
            <a:off x="4681920" y="4403526"/>
            <a:ext cx="2371162" cy="4747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Montserrat" panose="00000500000000000000" pitchFamily="2" charset="0"/>
              </a:rPr>
              <a:t>Log I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3B1B275-9B0B-41B2-AE74-657E6F593480}"/>
              </a:ext>
            </a:extLst>
          </p:cNvPr>
          <p:cNvSpPr/>
          <p:nvPr/>
        </p:nvSpPr>
        <p:spPr>
          <a:xfrm>
            <a:off x="8813392" y="3370828"/>
            <a:ext cx="1021271" cy="30702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Help me</a:t>
            </a:r>
          </a:p>
        </p:txBody>
      </p: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5D8D23D2-372E-4500-9E16-1D3D4D0A68B3}"/>
              </a:ext>
            </a:extLst>
          </p:cNvPr>
          <p:cNvCxnSpPr/>
          <p:nvPr/>
        </p:nvCxnSpPr>
        <p:spPr>
          <a:xfrm>
            <a:off x="4681919" y="5321030"/>
            <a:ext cx="23711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4070A8D-586B-460A-BCF9-E2D9B72171E2}"/>
              </a:ext>
            </a:extLst>
          </p:cNvPr>
          <p:cNvSpPr txBox="1"/>
          <p:nvPr/>
        </p:nvSpPr>
        <p:spPr>
          <a:xfrm>
            <a:off x="5176003" y="5167141"/>
            <a:ext cx="13791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Use Touch I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9EA97E6-21C3-40AB-9094-C33730638D05}"/>
              </a:ext>
            </a:extLst>
          </p:cNvPr>
          <p:cNvSpPr/>
          <p:nvPr/>
        </p:nvSpPr>
        <p:spPr>
          <a:xfrm>
            <a:off x="8405922" y="1476357"/>
            <a:ext cx="2371162" cy="2602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Montserrat" panose="00000500000000000000" pitchFamily="2" charset="0"/>
              </a:rPr>
              <a:t>Register and Help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ECF036B3-34EA-431A-90C7-289587BA7B1F}"/>
              </a:ext>
            </a:extLst>
          </p:cNvPr>
          <p:cNvSpPr/>
          <p:nvPr/>
        </p:nvSpPr>
        <p:spPr>
          <a:xfrm>
            <a:off x="8868322" y="2525507"/>
            <a:ext cx="173440" cy="163993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>
                <a:latin typeface="Montserrat" panose="00000500000000000000" pitchFamily="2" charset="0"/>
              </a:rPr>
              <a:t>?</a:t>
            </a:r>
          </a:p>
        </p:txBody>
      </p:sp>
      <p:pic>
        <p:nvPicPr>
          <p:cNvPr id="3074" name="Picture 2" descr="Customer Care Icon #398414 - Free Icons Library">
            <a:extLst>
              <a:ext uri="{FF2B5EF4-FFF2-40B4-BE49-F238E27FC236}">
                <a16:creationId xmlns:a16="http://schemas.microsoft.com/office/drawing/2014/main" id="{151B7C0F-E800-4539-B317-62F831012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181" y="2802217"/>
            <a:ext cx="413701" cy="41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D36DFCE-A8A2-45FC-9CF8-28F921317FD3}"/>
              </a:ext>
            </a:extLst>
          </p:cNvPr>
          <p:cNvSpPr txBox="1"/>
          <p:nvPr/>
        </p:nvSpPr>
        <p:spPr>
          <a:xfrm>
            <a:off x="6669754" y="3019092"/>
            <a:ext cx="33855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>
                <a:latin typeface="Montserrat" panose="00000500000000000000" pitchFamily="2" charset="0"/>
              </a:rPr>
              <a:t>???</a:t>
            </a:r>
          </a:p>
        </p:txBody>
      </p:sp>
    </p:spTree>
    <p:extLst>
      <p:ext uri="{BB962C8B-B14F-4D97-AF65-F5344CB8AC3E}">
        <p14:creationId xmlns:p14="http://schemas.microsoft.com/office/powerpoint/2010/main" val="1474202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0</Words>
  <Application>Microsoft Office PowerPoint</Application>
  <PresentationFormat>Widescreen</PresentationFormat>
  <Paragraphs>291</Paragraphs>
  <Slides>2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Arial</vt:lpstr>
      <vt:lpstr>Calibri</vt:lpstr>
      <vt:lpstr>Calibri Light</vt:lpstr>
      <vt:lpstr>Montserrat</vt:lpstr>
      <vt:lpstr>Office Theme</vt:lpstr>
      <vt:lpstr>PowerPoint Presentation</vt:lpstr>
      <vt:lpstr>FF-12: Login Animation.  Stickman meme faces</vt:lpstr>
      <vt:lpstr>FF-12: Login Animation.  Stickman meme faces</vt:lpstr>
      <vt:lpstr>FF-12: Login Animation</vt:lpstr>
      <vt:lpstr>FF-5: Register/Login</vt:lpstr>
      <vt:lpstr>FF-5: Register/Login</vt:lpstr>
      <vt:lpstr>FF-5: Register/Login</vt:lpstr>
      <vt:lpstr>FF-5: Register/Login</vt:lpstr>
      <vt:lpstr>FF-5: Register/Login</vt:lpstr>
      <vt:lpstr>PowerPoint Presentation</vt:lpstr>
      <vt:lpstr>FF-8: Swipe on other users</vt:lpstr>
      <vt:lpstr>FF-8: Swipe on other users</vt:lpstr>
      <vt:lpstr>FF-8: Swipe on other users</vt:lpstr>
      <vt:lpstr>FF-8: Swipe on other users</vt:lpstr>
      <vt:lpstr>FF-6: Manage my profile</vt:lpstr>
      <vt:lpstr>FF-6: Manage my profile</vt:lpstr>
      <vt:lpstr>FF-7: Set my discovery preference</vt:lpstr>
      <vt:lpstr>FF-7: Set my discovery preference</vt:lpstr>
      <vt:lpstr>FF-10: Overview page of my matches</vt:lpstr>
      <vt:lpstr>FF-10: Overview page of my matches</vt:lpstr>
      <vt:lpstr>FF-10: Overview page of my matches</vt:lpstr>
      <vt:lpstr>FF-10: Overview page of my matches</vt:lpstr>
      <vt:lpstr>FF-10: Overview page of my matches</vt:lpstr>
      <vt:lpstr>FF-10: Overview page of my matches</vt:lpstr>
      <vt:lpstr>FF-9: Chat with my matches</vt:lpstr>
      <vt:lpstr>FF-11: Connect with matches via other programs</vt:lpstr>
      <vt:lpstr>FF-13: Link and verify my account</vt:lpstr>
      <vt:lpstr>FF-14: Link and verify my accou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rzon</dc:creator>
  <cp:lastModifiedBy>David Gorzon</cp:lastModifiedBy>
  <cp:revision>61</cp:revision>
  <dcterms:created xsi:type="dcterms:W3CDTF">2020-11-19T20:07:45Z</dcterms:created>
  <dcterms:modified xsi:type="dcterms:W3CDTF">2020-11-28T11:07:58Z</dcterms:modified>
</cp:coreProperties>
</file>